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6" r:id="rId4"/>
    <p:sldMasterId id="2147483872" r:id="rId5"/>
    <p:sldMasterId id="2147483889" r:id="rId6"/>
  </p:sldMasterIdLst>
  <p:notesMasterIdLst>
    <p:notesMasterId r:id="rId19"/>
  </p:notesMasterIdLst>
  <p:handoutMasterIdLst>
    <p:handoutMasterId r:id="rId20"/>
  </p:handoutMasterIdLst>
  <p:sldIdLst>
    <p:sldId id="14182" r:id="rId7"/>
    <p:sldId id="14218" r:id="rId8"/>
    <p:sldId id="14222" r:id="rId9"/>
    <p:sldId id="14219" r:id="rId10"/>
    <p:sldId id="14221" r:id="rId11"/>
    <p:sldId id="4271" r:id="rId12"/>
    <p:sldId id="4273" r:id="rId13"/>
    <p:sldId id="398" r:id="rId14"/>
    <p:sldId id="4272" r:id="rId15"/>
    <p:sldId id="4299" r:id="rId16"/>
    <p:sldId id="4290" r:id="rId17"/>
    <p:sldId id="14181" r:id="rId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41">
          <p15:clr>
            <a:srgbClr val="A4A3A4"/>
          </p15:clr>
        </p15:guide>
        <p15:guide id="2" orient="horz" pos="133">
          <p15:clr>
            <a:srgbClr val="A4A3A4"/>
          </p15:clr>
        </p15:guide>
        <p15:guide id="3" orient="horz" pos="756">
          <p15:clr>
            <a:srgbClr val="A4A3A4"/>
          </p15:clr>
        </p15:guide>
        <p15:guide id="4" orient="horz" pos="612">
          <p15:clr>
            <a:srgbClr val="A4A3A4"/>
          </p15:clr>
        </p15:guide>
        <p15:guide id="5" pos="144">
          <p15:clr>
            <a:srgbClr val="A4A3A4"/>
          </p15:clr>
        </p15:guide>
        <p15:guide id="6" pos="5616">
          <p15:clr>
            <a:srgbClr val="A4A3A4"/>
          </p15:clr>
        </p15:guide>
        <p15:guide id="7" pos="2880">
          <p15:clr>
            <a:srgbClr val="A4A3A4"/>
          </p15:clr>
        </p15:guide>
        <p15:guide id="8" pos="646">
          <p15:clr>
            <a:srgbClr val="A4A3A4"/>
          </p15:clr>
        </p15:guide>
        <p15:guide id="9" orient="horz" pos="147">
          <p15:clr>
            <a:srgbClr val="A4A3A4"/>
          </p15:clr>
        </p15:guide>
        <p15:guide id="10" orient="horz" pos="289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014"/>
    <a:srgbClr val="0741CB"/>
    <a:srgbClr val="5EBCE1"/>
    <a:srgbClr val="00183C"/>
    <a:srgbClr val="A89E64"/>
    <a:srgbClr val="C4BD96"/>
    <a:srgbClr val="DDD9C3"/>
    <a:srgbClr val="33383F"/>
    <a:srgbClr val="FECF00"/>
    <a:srgbClr val="099C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5DE057-1E17-5D71-82B9-8BB2580E7ACE}" v="50" dt="2025-10-07T14:45:29.099"/>
    <p1510:client id="{B9004B18-EA1E-4239-B5EC-73B43D8738B9}" v="20" dt="2025-10-07T14:50:27.029"/>
    <p1510:client id="{DFD5CCBE-26DC-4E2A-B63A-6F18374500B4}" v="17" dt="2025-10-07T14:38:18.6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741"/>
        <p:guide orient="horz" pos="133"/>
        <p:guide orient="horz" pos="756"/>
        <p:guide orient="horz" pos="612"/>
        <p:guide pos="144"/>
        <p:guide pos="5616"/>
        <p:guide pos="2880"/>
        <p:guide pos="646"/>
        <p:guide orient="horz" pos="147"/>
        <p:guide orient="horz" pos="289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vi Darshanaa" userId="c8cf5130-e6dc-41a6-8ba9-14fb8707a081" providerId="ADAL" clId="{93E67524-1210-4A86-B0AB-69DFB5978798}"/>
    <pc:docChg chg="undo custSel addSld delSld modSld">
      <pc:chgData name="Devi Darshanaa" userId="c8cf5130-e6dc-41a6-8ba9-14fb8707a081" providerId="ADAL" clId="{93E67524-1210-4A86-B0AB-69DFB5978798}" dt="2025-10-07T14:39:57.217" v="346" actId="1076"/>
      <pc:docMkLst>
        <pc:docMk/>
      </pc:docMkLst>
      <pc:sldChg chg="addSp delSp modSp add mod modClrScheme chgLayout">
        <pc:chgData name="Devi Darshanaa" userId="c8cf5130-e6dc-41a6-8ba9-14fb8707a081" providerId="ADAL" clId="{93E67524-1210-4A86-B0AB-69DFB5978798}" dt="2025-10-07T14:39:57.217" v="346" actId="1076"/>
        <pc:sldMkLst>
          <pc:docMk/>
          <pc:sldMk cId="289875050" sldId="4299"/>
        </pc:sldMkLst>
        <pc:spChg chg="add mod ord">
          <ac:chgData name="Devi Darshanaa" userId="c8cf5130-e6dc-41a6-8ba9-14fb8707a081" providerId="ADAL" clId="{93E67524-1210-4A86-B0AB-69DFB5978798}" dt="2025-10-07T14:21:06.901" v="183" actId="1076"/>
          <ac:spMkLst>
            <pc:docMk/>
            <pc:sldMk cId="289875050" sldId="4299"/>
            <ac:spMk id="2" creationId="{946C49F4-FAB2-0749-3435-1E6F46046ACB}"/>
          </ac:spMkLst>
        </pc:spChg>
        <pc:spChg chg="del">
          <ac:chgData name="Devi Darshanaa" userId="c8cf5130-e6dc-41a6-8ba9-14fb8707a081" providerId="ADAL" clId="{93E67524-1210-4A86-B0AB-69DFB5978798}" dt="2025-10-07T14:20:38.765" v="177" actId="21"/>
          <ac:spMkLst>
            <pc:docMk/>
            <pc:sldMk cId="289875050" sldId="4299"/>
            <ac:spMk id="3" creationId="{B05D7221-C980-2462-F0D1-179E3B3ECE5D}"/>
          </ac:spMkLst>
        </pc:spChg>
        <pc:graphicFrameChg chg="add mod">
          <ac:chgData name="Devi Darshanaa" userId="c8cf5130-e6dc-41a6-8ba9-14fb8707a081" providerId="ADAL" clId="{93E67524-1210-4A86-B0AB-69DFB5978798}" dt="2025-10-07T14:36:55.066" v="318"/>
          <ac:graphicFrameMkLst>
            <pc:docMk/>
            <pc:sldMk cId="289875050" sldId="4299"/>
            <ac:graphicFrameMk id="4" creationId="{EF85CAC7-AE9D-3228-E785-65CAF0ED1EE9}"/>
          </ac:graphicFrameMkLst>
        </pc:graphicFrameChg>
        <pc:graphicFrameChg chg="del mod modGraphic">
          <ac:chgData name="Devi Darshanaa" userId="c8cf5130-e6dc-41a6-8ba9-14fb8707a081" providerId="ADAL" clId="{93E67524-1210-4A86-B0AB-69DFB5978798}" dt="2025-10-07T14:37:04.941" v="319" actId="478"/>
          <ac:graphicFrameMkLst>
            <pc:docMk/>
            <pc:sldMk cId="289875050" sldId="4299"/>
            <ac:graphicFrameMk id="5" creationId="{864210E1-5482-D704-3E23-B9CECBF63185}"/>
          </ac:graphicFrameMkLst>
        </pc:graphicFrameChg>
        <pc:graphicFrameChg chg="add mod modGraphic">
          <ac:chgData name="Devi Darshanaa" userId="c8cf5130-e6dc-41a6-8ba9-14fb8707a081" providerId="ADAL" clId="{93E67524-1210-4A86-B0AB-69DFB5978798}" dt="2025-10-07T14:37:20.130" v="328" actId="14100"/>
          <ac:graphicFrameMkLst>
            <pc:docMk/>
            <pc:sldMk cId="289875050" sldId="4299"/>
            <ac:graphicFrameMk id="6" creationId="{FA1ADD8A-C9A0-1115-E7FE-D16F49D58279}"/>
          </ac:graphicFrameMkLst>
        </pc:graphicFrameChg>
        <pc:graphicFrameChg chg="mod modGraphic">
          <ac:chgData name="Devi Darshanaa" userId="c8cf5130-e6dc-41a6-8ba9-14fb8707a081" providerId="ADAL" clId="{93E67524-1210-4A86-B0AB-69DFB5978798}" dt="2025-10-07T14:39:57.217" v="346" actId="1076"/>
          <ac:graphicFrameMkLst>
            <pc:docMk/>
            <pc:sldMk cId="289875050" sldId="4299"/>
            <ac:graphicFrameMk id="7" creationId="{5772BBBF-2B1A-ED06-D59B-218B1B4780DE}"/>
          </ac:graphicFrameMkLst>
        </pc:graphicFrameChg>
        <pc:graphicFrameChg chg="add mod modGraphic">
          <ac:chgData name="Devi Darshanaa" userId="c8cf5130-e6dc-41a6-8ba9-14fb8707a081" providerId="ADAL" clId="{93E67524-1210-4A86-B0AB-69DFB5978798}" dt="2025-10-07T14:39:46.966" v="345" actId="14100"/>
          <ac:graphicFrameMkLst>
            <pc:docMk/>
            <pc:sldMk cId="289875050" sldId="4299"/>
            <ac:graphicFrameMk id="8" creationId="{168B4FE3-33A1-B3EF-405A-E017AE13D411}"/>
          </ac:graphicFrameMkLst>
        </pc:graphicFrameChg>
      </pc:sldChg>
      <pc:sldChg chg="modSp mod">
        <pc:chgData name="Devi Darshanaa" userId="c8cf5130-e6dc-41a6-8ba9-14fb8707a081" providerId="ADAL" clId="{93E67524-1210-4A86-B0AB-69DFB5978798}" dt="2025-10-07T14:08:31.539" v="136" actId="20577"/>
        <pc:sldMkLst>
          <pc:docMk/>
          <pc:sldMk cId="2332309472" sldId="14181"/>
        </pc:sldMkLst>
        <pc:spChg chg="mod">
          <ac:chgData name="Devi Darshanaa" userId="c8cf5130-e6dc-41a6-8ba9-14fb8707a081" providerId="ADAL" clId="{93E67524-1210-4A86-B0AB-69DFB5978798}" dt="2025-10-07T14:08:31.539" v="136" actId="20577"/>
          <ac:spMkLst>
            <pc:docMk/>
            <pc:sldMk cId="2332309472" sldId="14181"/>
            <ac:spMk id="6" creationId="{DC5CD4B7-7CB7-E614-AD9B-DD81F66655E8}"/>
          </ac:spMkLst>
        </pc:spChg>
      </pc:sldChg>
      <pc:sldChg chg="addSp delSp modSp new del mod modClrScheme chgLayout">
        <pc:chgData name="Devi Darshanaa" userId="c8cf5130-e6dc-41a6-8ba9-14fb8707a081" providerId="ADAL" clId="{93E67524-1210-4A86-B0AB-69DFB5978798}" dt="2025-10-07T14:18:11.527" v="148" actId="2696"/>
        <pc:sldMkLst>
          <pc:docMk/>
          <pc:sldMk cId="1965109486" sldId="14223"/>
        </pc:sldMkLst>
        <pc:spChg chg="del">
          <ac:chgData name="Devi Darshanaa" userId="c8cf5130-e6dc-41a6-8ba9-14fb8707a081" providerId="ADAL" clId="{93E67524-1210-4A86-B0AB-69DFB5978798}" dt="2025-10-07T14:13:36.884" v="138" actId="700"/>
          <ac:spMkLst>
            <pc:docMk/>
            <pc:sldMk cId="1965109486" sldId="14223"/>
            <ac:spMk id="2" creationId="{8895A52F-269B-B3CA-03B5-DBD4B8755FCC}"/>
          </ac:spMkLst>
        </pc:spChg>
        <pc:spChg chg="del">
          <ac:chgData name="Devi Darshanaa" userId="c8cf5130-e6dc-41a6-8ba9-14fb8707a081" providerId="ADAL" clId="{93E67524-1210-4A86-B0AB-69DFB5978798}" dt="2025-10-07T14:13:36.884" v="138" actId="700"/>
          <ac:spMkLst>
            <pc:docMk/>
            <pc:sldMk cId="1965109486" sldId="14223"/>
            <ac:spMk id="3" creationId="{424A0002-3F0B-C89B-4EDB-B73C175C504B}"/>
          </ac:spMkLst>
        </pc:spChg>
        <pc:spChg chg="del mod ord">
          <ac:chgData name="Devi Darshanaa" userId="c8cf5130-e6dc-41a6-8ba9-14fb8707a081" providerId="ADAL" clId="{93E67524-1210-4A86-B0AB-69DFB5978798}" dt="2025-10-07T14:13:36.884" v="138" actId="700"/>
          <ac:spMkLst>
            <pc:docMk/>
            <pc:sldMk cId="1965109486" sldId="14223"/>
            <ac:spMk id="4" creationId="{A732A4A6-A182-805E-EB60-35BD8E488616}"/>
          </ac:spMkLst>
        </pc:spChg>
        <pc:spChg chg="add mod ord">
          <ac:chgData name="Devi Darshanaa" userId="c8cf5130-e6dc-41a6-8ba9-14fb8707a081" providerId="ADAL" clId="{93E67524-1210-4A86-B0AB-69DFB5978798}" dt="2025-10-07T14:13:45.114" v="146" actId="20577"/>
          <ac:spMkLst>
            <pc:docMk/>
            <pc:sldMk cId="1965109486" sldId="14223"/>
            <ac:spMk id="5" creationId="{859629D1-C0B4-11CB-1073-02A87A62D6FA}"/>
          </ac:spMkLst>
        </pc:spChg>
      </pc:sldChg>
    </pc:docChg>
  </pc:docChgLst>
  <pc:docChgLst>
    <pc:chgData name="Gabriel Kumar" userId="eb1b7155-bb04-442e-8caa-ed3ea431591c" providerId="ADAL" clId="{7C3BEFE2-C3D5-44BC-A42F-0F98A34ACDF1}"/>
    <pc:docChg chg="custSel modSld sldOrd">
      <pc:chgData name="Gabriel Kumar" userId="eb1b7155-bb04-442e-8caa-ed3ea431591c" providerId="ADAL" clId="{7C3BEFE2-C3D5-44BC-A42F-0F98A34ACDF1}" dt="2025-10-07T14:50:27.029" v="19"/>
      <pc:docMkLst>
        <pc:docMk/>
      </pc:docMkLst>
      <pc:sldChg chg="ord">
        <pc:chgData name="Gabriel Kumar" userId="eb1b7155-bb04-442e-8caa-ed3ea431591c" providerId="ADAL" clId="{7C3BEFE2-C3D5-44BC-A42F-0F98A34ACDF1}" dt="2025-10-07T14:50:27.029" v="19"/>
        <pc:sldMkLst>
          <pc:docMk/>
          <pc:sldMk cId="161569534" sldId="4272"/>
        </pc:sldMkLst>
      </pc:sldChg>
      <pc:sldChg chg="addSp delSp modSp mod">
        <pc:chgData name="Gabriel Kumar" userId="eb1b7155-bb04-442e-8caa-ed3ea431591c" providerId="ADAL" clId="{7C3BEFE2-C3D5-44BC-A42F-0F98A34ACDF1}" dt="2025-10-07T14:50:05.142" v="17" actId="12788"/>
        <pc:sldMkLst>
          <pc:docMk/>
          <pc:sldMk cId="289875050" sldId="4299"/>
        </pc:sldMkLst>
        <pc:graphicFrameChg chg="add mod">
          <ac:chgData name="Gabriel Kumar" userId="eb1b7155-bb04-442e-8caa-ed3ea431591c" providerId="ADAL" clId="{7C3BEFE2-C3D5-44BC-A42F-0F98A34ACDF1}" dt="2025-10-07T14:47:23.575" v="1"/>
          <ac:graphicFrameMkLst>
            <pc:docMk/>
            <pc:sldMk cId="289875050" sldId="4299"/>
            <ac:graphicFrameMk id="3" creationId="{1B12B3EE-37D7-17C6-8901-CC5B638EAF35}"/>
          </ac:graphicFrameMkLst>
        </pc:graphicFrameChg>
        <pc:graphicFrameChg chg="add mod modGraphic">
          <ac:chgData name="Gabriel Kumar" userId="eb1b7155-bb04-442e-8caa-ed3ea431591c" providerId="ADAL" clId="{7C3BEFE2-C3D5-44BC-A42F-0F98A34ACDF1}" dt="2025-10-07T14:47:39.876" v="5" actId="12788"/>
          <ac:graphicFrameMkLst>
            <pc:docMk/>
            <pc:sldMk cId="289875050" sldId="4299"/>
            <ac:graphicFrameMk id="4" creationId="{0B4C3304-5916-7C4E-5C75-55B271A0D716}"/>
          </ac:graphicFrameMkLst>
        </pc:graphicFrameChg>
        <pc:graphicFrameChg chg="mod modGraphic">
          <ac:chgData name="Gabriel Kumar" userId="eb1b7155-bb04-442e-8caa-ed3ea431591c" providerId="ADAL" clId="{7C3BEFE2-C3D5-44BC-A42F-0F98A34ACDF1}" dt="2025-10-07T14:50:05.142" v="17" actId="12788"/>
          <ac:graphicFrameMkLst>
            <pc:docMk/>
            <pc:sldMk cId="289875050" sldId="4299"/>
            <ac:graphicFrameMk id="7" creationId="{5772BBBF-2B1A-ED06-D59B-218B1B4780DE}"/>
          </ac:graphicFrameMkLst>
        </pc:graphicFrameChg>
        <pc:graphicFrameChg chg="del">
          <ac:chgData name="Gabriel Kumar" userId="eb1b7155-bb04-442e-8caa-ed3ea431591c" providerId="ADAL" clId="{7C3BEFE2-C3D5-44BC-A42F-0F98A34ACDF1}" dt="2025-10-07T14:47:23.024" v="0" actId="478"/>
          <ac:graphicFrameMkLst>
            <pc:docMk/>
            <pc:sldMk cId="289875050" sldId="4299"/>
            <ac:graphicFrameMk id="8" creationId="{168B4FE3-33A1-B3EF-405A-E017AE13D411}"/>
          </ac:graphicFrameMkLst>
        </pc:graphicFrameChg>
      </pc:sldChg>
    </pc:docChg>
  </pc:docChgLst>
  <pc:docChgLst>
    <pc:chgData name="Gabriel Kumar" userId="S::gabriels@revature.com::eb1b7155-bb04-442e-8caa-ed3ea431591c" providerId="AD" clId="Web-{745DE057-1E17-5D71-82B9-8BB2580E7ACE}"/>
    <pc:docChg chg="modSld">
      <pc:chgData name="Gabriel Kumar" userId="S::gabriels@revature.com::eb1b7155-bb04-442e-8caa-ed3ea431591c" providerId="AD" clId="Web-{745DE057-1E17-5D71-82B9-8BB2580E7ACE}" dt="2025-10-07T14:45:29.099" v="21"/>
      <pc:docMkLst>
        <pc:docMk/>
      </pc:docMkLst>
      <pc:sldChg chg="modSp">
        <pc:chgData name="Gabriel Kumar" userId="S::gabriels@revature.com::eb1b7155-bb04-442e-8caa-ed3ea431591c" providerId="AD" clId="Web-{745DE057-1E17-5D71-82B9-8BB2580E7ACE}" dt="2025-10-07T14:45:29.099" v="21"/>
        <pc:sldMkLst>
          <pc:docMk/>
          <pc:sldMk cId="289875050" sldId="4299"/>
        </pc:sldMkLst>
        <pc:graphicFrameChg chg="modGraphic">
          <ac:chgData name="Gabriel Kumar" userId="S::gabriels@revature.com::eb1b7155-bb04-442e-8caa-ed3ea431591c" providerId="AD" clId="Web-{745DE057-1E17-5D71-82B9-8BB2580E7ACE}" dt="2025-10-07T14:45:29.099" v="21"/>
          <ac:graphicFrameMkLst>
            <pc:docMk/>
            <pc:sldMk cId="289875050" sldId="4299"/>
            <ac:graphicFrameMk id="8" creationId="{168B4FE3-33A1-B3EF-405A-E017AE13D41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D1D0313-F1C1-4BE6-A903-24D8C0A87064}" type="datetimeFigureOut">
              <a:rPr lang="en-US" smtClean="0"/>
              <a:t>10/7/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7E69A0D-136B-4D35-8372-B141A6D4B63A}" type="slidenum">
              <a:rPr lang="en-US" smtClean="0"/>
              <a:t>‹#›</a:t>
            </a:fld>
            <a:endParaRPr lang="en-US"/>
          </a:p>
        </p:txBody>
      </p:sp>
    </p:spTree>
    <p:extLst>
      <p:ext uri="{BB962C8B-B14F-4D97-AF65-F5344CB8AC3E}">
        <p14:creationId xmlns:p14="http://schemas.microsoft.com/office/powerpoint/2010/main" val="31611001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52216B-A306-4191-9607-65EF0B473D4A}" type="datetimeFigureOut">
              <a:rPr lang="en-US" smtClean="0"/>
              <a:t>10/7/202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3F2FE03-0128-49A4-9C8E-FA8E5C6BCA0C}" type="slidenum">
              <a:rPr lang="en-US" smtClean="0"/>
              <a:t>‹#›</a:t>
            </a:fld>
            <a:endParaRPr lang="en-US"/>
          </a:p>
        </p:txBody>
      </p:sp>
    </p:spTree>
    <p:extLst>
      <p:ext uri="{BB962C8B-B14F-4D97-AF65-F5344CB8AC3E}">
        <p14:creationId xmlns:p14="http://schemas.microsoft.com/office/powerpoint/2010/main" val="3348255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5.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userDrawn="1"/>
        </p:nvSpPr>
        <p:spPr>
          <a:xfrm>
            <a:off x="0" y="561975"/>
            <a:ext cx="8477250" cy="458152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62735" y="911452"/>
            <a:ext cx="1402397" cy="503553"/>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1842326"/>
            <a:ext cx="6039046" cy="1820850"/>
          </a:xfrm>
        </p:spPr>
        <p:txBody>
          <a:bodyPr>
            <a:normAutofit/>
          </a:bodyPr>
          <a:lstStyle>
            <a:lvl1pPr>
              <a:defRPr sz="5400">
                <a:solidFill>
                  <a:schemeClr val="bg1"/>
                </a:solidFill>
                <a:latin typeface="Futura PT Bold" panose="020B090202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AEDC6D98-2DA6-EA4A-8524-20083A7509C9}"/>
              </a:ext>
            </a:extLst>
          </p:cNvPr>
          <p:cNvSpPr>
            <a:spLocks noGrp="1"/>
          </p:cNvSpPr>
          <p:nvPr>
            <p:ph type="body" sz="quarter" idx="10" hasCustomPrompt="1"/>
          </p:nvPr>
        </p:nvSpPr>
        <p:spPr>
          <a:xfrm>
            <a:off x="526257" y="3971302"/>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Subtitle</a:t>
            </a:r>
          </a:p>
        </p:txBody>
      </p:sp>
      <p:sp>
        <p:nvSpPr>
          <p:cNvPr id="10" name="Text Placeholder 2">
            <a:extLst>
              <a:ext uri="{FF2B5EF4-FFF2-40B4-BE49-F238E27FC236}">
                <a16:creationId xmlns:a16="http://schemas.microsoft.com/office/drawing/2014/main" id="{A74EC739-DB15-2D4B-BBAC-E13421A3EBF9}"/>
              </a:ext>
            </a:extLst>
          </p:cNvPr>
          <p:cNvSpPr>
            <a:spLocks noGrp="1"/>
          </p:cNvSpPr>
          <p:nvPr>
            <p:ph type="body" sz="quarter" idx="11" hasCustomPrompt="1"/>
          </p:nvPr>
        </p:nvSpPr>
        <p:spPr>
          <a:xfrm>
            <a:off x="526257" y="4305178"/>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Date</a:t>
            </a:r>
          </a:p>
          <a:p>
            <a:pPr lvl="0"/>
            <a:endParaRPr lang="en-US"/>
          </a:p>
        </p:txBody>
      </p:sp>
    </p:spTree>
    <p:extLst>
      <p:ext uri="{BB962C8B-B14F-4D97-AF65-F5344CB8AC3E}">
        <p14:creationId xmlns:p14="http://schemas.microsoft.com/office/powerpoint/2010/main" val="3050873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433956" y="1908688"/>
            <a:ext cx="2484432" cy="892074"/>
          </a:xfrm>
          <a:prstGeom prst="rect">
            <a:avLst/>
          </a:prstGeom>
        </p:spPr>
      </p:pic>
    </p:spTree>
    <p:extLst>
      <p:ext uri="{BB962C8B-B14F-4D97-AF65-F5344CB8AC3E}">
        <p14:creationId xmlns:p14="http://schemas.microsoft.com/office/powerpoint/2010/main" val="4013980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2">
    <p:spTree>
      <p:nvGrpSpPr>
        <p:cNvPr id="1" name=""/>
        <p:cNvGrpSpPr/>
        <p:nvPr/>
      </p:nvGrpSpPr>
      <p:grpSpPr>
        <a:xfrm>
          <a:off x="0" y="0"/>
          <a:ext cx="0" cy="0"/>
          <a:chOff x="0" y="0"/>
          <a:chExt cx="0" cy="0"/>
        </a:xfrm>
      </p:grpSpPr>
      <p:pic>
        <p:nvPicPr>
          <p:cNvPr id="53" name="Picture 5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4008665" y="-2703335"/>
            <a:ext cx="1126670" cy="9143997"/>
          </a:xfrm>
          <a:prstGeom prst="rect">
            <a:avLst/>
          </a:prstGeom>
        </p:spPr>
      </p:pic>
      <p:pic>
        <p:nvPicPr>
          <p:cNvPr id="54" name="Picture 5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431999"/>
            <a:ext cx="9144000" cy="2717417"/>
          </a:xfrm>
          <a:prstGeom prst="rect">
            <a:avLst/>
          </a:prstGeom>
        </p:spPr>
      </p:pic>
      <p:sp>
        <p:nvSpPr>
          <p:cNvPr id="9" name="Rectangle 8"/>
          <p:cNvSpPr/>
          <p:nvPr userDrawn="1"/>
        </p:nvSpPr>
        <p:spPr>
          <a:xfrm>
            <a:off x="-3" y="2"/>
            <a:ext cx="9143999" cy="13053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grpSp>
        <p:nvGrpSpPr>
          <p:cNvPr id="10" name="Group 9"/>
          <p:cNvGrpSpPr/>
          <p:nvPr userDrawn="1"/>
        </p:nvGrpSpPr>
        <p:grpSpPr>
          <a:xfrm>
            <a:off x="496178" y="287009"/>
            <a:ext cx="3105481" cy="731312"/>
            <a:chOff x="2814452" y="4625522"/>
            <a:chExt cx="5459889" cy="1714337"/>
          </a:xfrm>
        </p:grpSpPr>
        <p:sp>
          <p:nvSpPr>
            <p:cNvPr id="11" name="Freeform 6"/>
            <p:cNvSpPr>
              <a:spLocks noEditPoints="1"/>
            </p:cNvSpPr>
            <p:nvPr userDrawn="1"/>
          </p:nvSpPr>
          <p:spPr bwMode="auto">
            <a:xfrm>
              <a:off x="2814452" y="5818063"/>
              <a:ext cx="523694" cy="508514"/>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7"/>
            <p:cNvSpPr>
              <a:spLocks/>
            </p:cNvSpPr>
            <p:nvPr userDrawn="1"/>
          </p:nvSpPr>
          <p:spPr bwMode="auto">
            <a:xfrm>
              <a:off x="3467172" y="5818063"/>
              <a:ext cx="462976" cy="508514"/>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8"/>
            <p:cNvSpPr>
              <a:spLocks/>
            </p:cNvSpPr>
            <p:nvPr userDrawn="1"/>
          </p:nvSpPr>
          <p:spPr bwMode="auto">
            <a:xfrm>
              <a:off x="4041148" y="5818063"/>
              <a:ext cx="541720" cy="508514"/>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9"/>
            <p:cNvSpPr>
              <a:spLocks noEditPoints="1"/>
            </p:cNvSpPr>
            <p:nvPr userDrawn="1"/>
          </p:nvSpPr>
          <p:spPr bwMode="auto">
            <a:xfrm>
              <a:off x="4582868" y="5818063"/>
              <a:ext cx="608130" cy="508514"/>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0"/>
            <p:cNvSpPr>
              <a:spLocks/>
            </p:cNvSpPr>
            <p:nvPr userDrawn="1"/>
          </p:nvSpPr>
          <p:spPr bwMode="auto">
            <a:xfrm>
              <a:off x="5169177" y="5818063"/>
              <a:ext cx="555002" cy="508514"/>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1"/>
            <p:cNvSpPr>
              <a:spLocks/>
            </p:cNvSpPr>
            <p:nvPr userDrawn="1"/>
          </p:nvSpPr>
          <p:spPr bwMode="auto">
            <a:xfrm>
              <a:off x="5831384" y="5818063"/>
              <a:ext cx="541720" cy="521796"/>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2"/>
            <p:cNvSpPr>
              <a:spLocks noEditPoints="1"/>
            </p:cNvSpPr>
            <p:nvPr userDrawn="1"/>
          </p:nvSpPr>
          <p:spPr bwMode="auto">
            <a:xfrm>
              <a:off x="6530592" y="5818063"/>
              <a:ext cx="521796" cy="508514"/>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3"/>
            <p:cNvSpPr>
              <a:spLocks/>
            </p:cNvSpPr>
            <p:nvPr userDrawn="1"/>
          </p:nvSpPr>
          <p:spPr bwMode="auto">
            <a:xfrm>
              <a:off x="7183312" y="5818063"/>
              <a:ext cx="462976" cy="508514"/>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4"/>
            <p:cNvSpPr>
              <a:spLocks/>
            </p:cNvSpPr>
            <p:nvPr userDrawn="1"/>
          </p:nvSpPr>
          <p:spPr bwMode="auto">
            <a:xfrm>
              <a:off x="4647381" y="5515421"/>
              <a:ext cx="91077" cy="87282"/>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5"/>
            <p:cNvSpPr>
              <a:spLocks/>
            </p:cNvSpPr>
            <p:nvPr userDrawn="1"/>
          </p:nvSpPr>
          <p:spPr bwMode="auto">
            <a:xfrm>
              <a:off x="4937689" y="5235549"/>
              <a:ext cx="130923" cy="157487"/>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6"/>
            <p:cNvSpPr>
              <a:spLocks/>
            </p:cNvSpPr>
            <p:nvPr userDrawn="1"/>
          </p:nvSpPr>
          <p:spPr bwMode="auto">
            <a:xfrm>
              <a:off x="5278280" y="5018292"/>
              <a:ext cx="132821" cy="243821"/>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17"/>
            <p:cNvSpPr>
              <a:spLocks/>
            </p:cNvSpPr>
            <p:nvPr userDrawn="1"/>
          </p:nvSpPr>
          <p:spPr bwMode="auto">
            <a:xfrm>
              <a:off x="5649230" y="4842779"/>
              <a:ext cx="112898" cy="335847"/>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18"/>
            <p:cNvSpPr>
              <a:spLocks/>
            </p:cNvSpPr>
            <p:nvPr userDrawn="1"/>
          </p:nvSpPr>
          <p:spPr bwMode="auto">
            <a:xfrm>
              <a:off x="6026821" y="4720394"/>
              <a:ext cx="104359" cy="420283"/>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19"/>
            <p:cNvSpPr>
              <a:spLocks/>
            </p:cNvSpPr>
            <p:nvPr userDrawn="1"/>
          </p:nvSpPr>
          <p:spPr bwMode="auto">
            <a:xfrm>
              <a:off x="6384489" y="4647343"/>
              <a:ext cx="162232" cy="497129"/>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0"/>
            <p:cNvSpPr>
              <a:spLocks/>
            </p:cNvSpPr>
            <p:nvPr userDrawn="1"/>
          </p:nvSpPr>
          <p:spPr bwMode="auto">
            <a:xfrm>
              <a:off x="6733618" y="4625522"/>
              <a:ext cx="241924" cy="56828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6" name="Freeform 21"/>
            <p:cNvSpPr>
              <a:spLocks/>
            </p:cNvSpPr>
            <p:nvPr userDrawn="1"/>
          </p:nvSpPr>
          <p:spPr bwMode="auto">
            <a:xfrm>
              <a:off x="7077055" y="4665368"/>
              <a:ext cx="333950" cy="621412"/>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7" name="Freeform 22"/>
            <p:cNvSpPr>
              <a:spLocks/>
            </p:cNvSpPr>
            <p:nvPr userDrawn="1"/>
          </p:nvSpPr>
          <p:spPr bwMode="auto">
            <a:xfrm>
              <a:off x="7414800" y="4764984"/>
              <a:ext cx="430719" cy="659361"/>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8" name="Freeform 23"/>
            <p:cNvSpPr>
              <a:spLocks/>
            </p:cNvSpPr>
            <p:nvPr userDrawn="1"/>
          </p:nvSpPr>
          <p:spPr bwMode="auto">
            <a:xfrm>
              <a:off x="7730724" y="4924369"/>
              <a:ext cx="543617" cy="68023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
        <p:nvSpPr>
          <p:cNvPr id="30" name="Text Placeholder 29"/>
          <p:cNvSpPr>
            <a:spLocks noGrp="1"/>
          </p:cNvSpPr>
          <p:nvPr>
            <p:ph type="body" sz="quarter" idx="13" hasCustomPrompt="1"/>
          </p:nvPr>
        </p:nvSpPr>
        <p:spPr>
          <a:xfrm>
            <a:off x="323137" y="1384699"/>
            <a:ext cx="8441453" cy="931069"/>
          </a:xfrm>
        </p:spPr>
        <p:txBody>
          <a:bodyPr anchor="ctr" anchorCtr="0">
            <a:normAutofit/>
          </a:bodyPr>
          <a:lstStyle>
            <a:lvl1pPr marL="0" indent="0">
              <a:buNone/>
              <a:defRPr sz="2250" b="0">
                <a:solidFill>
                  <a:schemeClr val="bg1"/>
                </a:solidFill>
                <a:latin typeface="Futura Bk BT" panose="020B0502020204020303" pitchFamily="34" charset="0"/>
              </a:defRPr>
            </a:lvl1pPr>
          </a:lstStyle>
          <a:p>
            <a:pPr lvl="0"/>
            <a:r>
              <a:rPr lang="en-US"/>
              <a:t>CLICK TO ADD TEXT</a:t>
            </a:r>
          </a:p>
        </p:txBody>
      </p:sp>
    </p:spTree>
    <p:extLst>
      <p:ext uri="{BB962C8B-B14F-4D97-AF65-F5344CB8AC3E}">
        <p14:creationId xmlns:p14="http://schemas.microsoft.com/office/powerpoint/2010/main" val="2018249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750" fill="hold"/>
                                        <p:tgtEl>
                                          <p:spTgt spid="53"/>
                                        </p:tgtEl>
                                        <p:attrNameLst>
                                          <p:attrName>ppt_x</p:attrName>
                                        </p:attrNameLst>
                                      </p:cBhvr>
                                      <p:tavLst>
                                        <p:tav tm="0">
                                          <p:val>
                                            <p:strVal val="#ppt_x"/>
                                          </p:val>
                                        </p:tav>
                                        <p:tav tm="100000">
                                          <p:val>
                                            <p:strVal val="#ppt_x"/>
                                          </p:val>
                                        </p:tav>
                                      </p:tavLst>
                                    </p:anim>
                                    <p:anim calcmode="lin" valueType="num">
                                      <p:cBhvr additive="base">
                                        <p:cTn id="8" dur="750" fill="hold"/>
                                        <p:tgtEl>
                                          <p:spTgt spid="53"/>
                                        </p:tgtEl>
                                        <p:attrNameLst>
                                          <p:attrName>ppt_y</p:attrName>
                                        </p:attrNameLst>
                                      </p:cBhvr>
                                      <p:tavLst>
                                        <p:tav tm="0">
                                          <p:val>
                                            <p:strVal val="0-#ppt_h/2"/>
                                          </p:val>
                                        </p:tav>
                                        <p:tav tm="100000">
                                          <p:val>
                                            <p:strVal val="#ppt_y"/>
                                          </p:val>
                                        </p:tav>
                                      </p:tavLst>
                                    </p:anim>
                                  </p:childTnLst>
                                </p:cTn>
                              </p:par>
                              <p:par>
                                <p:cTn id="9" presetID="2" presetClass="entr" presetSubtype="8" decel="100000" fill="hold" nodeType="withEffect">
                                  <p:stCondLst>
                                    <p:cond delay="30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750" fill="hold"/>
                                        <p:tgtEl>
                                          <p:spTgt spid="54"/>
                                        </p:tgtEl>
                                        <p:attrNameLst>
                                          <p:attrName>ppt_x</p:attrName>
                                        </p:attrNameLst>
                                      </p:cBhvr>
                                      <p:tavLst>
                                        <p:tav tm="0">
                                          <p:val>
                                            <p:strVal val="0-#ppt_w/2"/>
                                          </p:val>
                                        </p:tav>
                                        <p:tav tm="100000">
                                          <p:val>
                                            <p:strVal val="#ppt_x"/>
                                          </p:val>
                                        </p:tav>
                                      </p:tavLst>
                                    </p:anim>
                                    <p:anim calcmode="lin" valueType="num">
                                      <p:cBhvr additive="base">
                                        <p:cTn id="12" dur="75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0" y="1305329"/>
            <a:ext cx="9144000" cy="112667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2766" y="2431997"/>
            <a:ext cx="9144000" cy="2711501"/>
          </a:xfrm>
          <a:prstGeom prst="rect">
            <a:avLst/>
          </a:prstGeom>
        </p:spPr>
      </p:pic>
      <p:sp>
        <p:nvSpPr>
          <p:cNvPr id="9" name="Rectangle 8"/>
          <p:cNvSpPr/>
          <p:nvPr userDrawn="1"/>
        </p:nvSpPr>
        <p:spPr>
          <a:xfrm>
            <a:off x="151527" y="135921"/>
            <a:ext cx="3887075" cy="11254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grpSp>
        <p:nvGrpSpPr>
          <p:cNvPr id="10" name="Group 9"/>
          <p:cNvGrpSpPr/>
          <p:nvPr userDrawn="1"/>
        </p:nvGrpSpPr>
        <p:grpSpPr>
          <a:xfrm>
            <a:off x="496178" y="287009"/>
            <a:ext cx="3105481" cy="731312"/>
            <a:chOff x="2814452" y="4625522"/>
            <a:chExt cx="5459889" cy="1714337"/>
          </a:xfrm>
        </p:grpSpPr>
        <p:sp>
          <p:nvSpPr>
            <p:cNvPr id="11" name="Freeform 6"/>
            <p:cNvSpPr>
              <a:spLocks noEditPoints="1"/>
            </p:cNvSpPr>
            <p:nvPr userDrawn="1"/>
          </p:nvSpPr>
          <p:spPr bwMode="auto">
            <a:xfrm>
              <a:off x="2814452" y="5818063"/>
              <a:ext cx="523694" cy="508514"/>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7"/>
            <p:cNvSpPr>
              <a:spLocks/>
            </p:cNvSpPr>
            <p:nvPr userDrawn="1"/>
          </p:nvSpPr>
          <p:spPr bwMode="auto">
            <a:xfrm>
              <a:off x="3467172" y="5818063"/>
              <a:ext cx="462976" cy="508514"/>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8"/>
            <p:cNvSpPr>
              <a:spLocks/>
            </p:cNvSpPr>
            <p:nvPr userDrawn="1"/>
          </p:nvSpPr>
          <p:spPr bwMode="auto">
            <a:xfrm>
              <a:off x="4041148" y="5818063"/>
              <a:ext cx="541720" cy="508514"/>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9"/>
            <p:cNvSpPr>
              <a:spLocks noEditPoints="1"/>
            </p:cNvSpPr>
            <p:nvPr userDrawn="1"/>
          </p:nvSpPr>
          <p:spPr bwMode="auto">
            <a:xfrm>
              <a:off x="4582868" y="5818063"/>
              <a:ext cx="608130" cy="508514"/>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0"/>
            <p:cNvSpPr>
              <a:spLocks/>
            </p:cNvSpPr>
            <p:nvPr userDrawn="1"/>
          </p:nvSpPr>
          <p:spPr bwMode="auto">
            <a:xfrm>
              <a:off x="5169177" y="5818063"/>
              <a:ext cx="555002" cy="508514"/>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1"/>
            <p:cNvSpPr>
              <a:spLocks/>
            </p:cNvSpPr>
            <p:nvPr userDrawn="1"/>
          </p:nvSpPr>
          <p:spPr bwMode="auto">
            <a:xfrm>
              <a:off x="5831384" y="5818063"/>
              <a:ext cx="541720" cy="521796"/>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2"/>
            <p:cNvSpPr>
              <a:spLocks noEditPoints="1"/>
            </p:cNvSpPr>
            <p:nvPr userDrawn="1"/>
          </p:nvSpPr>
          <p:spPr bwMode="auto">
            <a:xfrm>
              <a:off x="6530592" y="5818063"/>
              <a:ext cx="521796" cy="508514"/>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3"/>
            <p:cNvSpPr>
              <a:spLocks/>
            </p:cNvSpPr>
            <p:nvPr userDrawn="1"/>
          </p:nvSpPr>
          <p:spPr bwMode="auto">
            <a:xfrm>
              <a:off x="7183312" y="5818063"/>
              <a:ext cx="462976" cy="508514"/>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4"/>
            <p:cNvSpPr>
              <a:spLocks/>
            </p:cNvSpPr>
            <p:nvPr userDrawn="1"/>
          </p:nvSpPr>
          <p:spPr bwMode="auto">
            <a:xfrm>
              <a:off x="4647381" y="5515421"/>
              <a:ext cx="91077" cy="87282"/>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5"/>
            <p:cNvSpPr>
              <a:spLocks/>
            </p:cNvSpPr>
            <p:nvPr userDrawn="1"/>
          </p:nvSpPr>
          <p:spPr bwMode="auto">
            <a:xfrm>
              <a:off x="4937689" y="5235549"/>
              <a:ext cx="130923" cy="157487"/>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6"/>
            <p:cNvSpPr>
              <a:spLocks/>
            </p:cNvSpPr>
            <p:nvPr userDrawn="1"/>
          </p:nvSpPr>
          <p:spPr bwMode="auto">
            <a:xfrm>
              <a:off x="5278280" y="5018292"/>
              <a:ext cx="132821" cy="243821"/>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17"/>
            <p:cNvSpPr>
              <a:spLocks/>
            </p:cNvSpPr>
            <p:nvPr userDrawn="1"/>
          </p:nvSpPr>
          <p:spPr bwMode="auto">
            <a:xfrm>
              <a:off x="5649230" y="4842779"/>
              <a:ext cx="112898" cy="335847"/>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18"/>
            <p:cNvSpPr>
              <a:spLocks/>
            </p:cNvSpPr>
            <p:nvPr userDrawn="1"/>
          </p:nvSpPr>
          <p:spPr bwMode="auto">
            <a:xfrm>
              <a:off x="6026821" y="4720394"/>
              <a:ext cx="104359" cy="420283"/>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19"/>
            <p:cNvSpPr>
              <a:spLocks/>
            </p:cNvSpPr>
            <p:nvPr userDrawn="1"/>
          </p:nvSpPr>
          <p:spPr bwMode="auto">
            <a:xfrm>
              <a:off x="6384489" y="4647343"/>
              <a:ext cx="162232" cy="497129"/>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0"/>
            <p:cNvSpPr>
              <a:spLocks/>
            </p:cNvSpPr>
            <p:nvPr userDrawn="1"/>
          </p:nvSpPr>
          <p:spPr bwMode="auto">
            <a:xfrm>
              <a:off x="6733618" y="4625522"/>
              <a:ext cx="241924" cy="56828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6" name="Freeform 21"/>
            <p:cNvSpPr>
              <a:spLocks/>
            </p:cNvSpPr>
            <p:nvPr userDrawn="1"/>
          </p:nvSpPr>
          <p:spPr bwMode="auto">
            <a:xfrm>
              <a:off x="7077055" y="4665368"/>
              <a:ext cx="333950" cy="621412"/>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7" name="Freeform 22"/>
            <p:cNvSpPr>
              <a:spLocks/>
            </p:cNvSpPr>
            <p:nvPr userDrawn="1"/>
          </p:nvSpPr>
          <p:spPr bwMode="auto">
            <a:xfrm>
              <a:off x="7414800" y="4764984"/>
              <a:ext cx="430719" cy="659361"/>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8" name="Freeform 23"/>
            <p:cNvSpPr>
              <a:spLocks/>
            </p:cNvSpPr>
            <p:nvPr userDrawn="1"/>
          </p:nvSpPr>
          <p:spPr bwMode="auto">
            <a:xfrm>
              <a:off x="7730724" y="4924369"/>
              <a:ext cx="543617" cy="68023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
        <p:nvSpPr>
          <p:cNvPr id="30" name="Text Placeholder 29"/>
          <p:cNvSpPr>
            <a:spLocks noGrp="1"/>
          </p:cNvSpPr>
          <p:nvPr userDrawn="1">
            <p:ph type="body" sz="quarter" idx="13" hasCustomPrompt="1"/>
          </p:nvPr>
        </p:nvSpPr>
        <p:spPr>
          <a:xfrm>
            <a:off x="323137" y="1384699"/>
            <a:ext cx="8441453" cy="931069"/>
          </a:xfrm>
        </p:spPr>
        <p:txBody>
          <a:bodyPr anchor="ctr" anchorCtr="0">
            <a:normAutofit/>
          </a:bodyPr>
          <a:lstStyle>
            <a:lvl1pPr marL="0" indent="0">
              <a:buNone/>
              <a:defRPr sz="2250" b="1" i="0">
                <a:solidFill>
                  <a:schemeClr val="bg1"/>
                </a:solidFill>
                <a:latin typeface="Futura Bk BT" panose="020B0502020204020303" pitchFamily="34" charset="0"/>
              </a:defRPr>
            </a:lvl1pPr>
          </a:lstStyle>
          <a:p>
            <a:pPr lvl="0"/>
            <a:r>
              <a:rPr lang="en-US"/>
              <a:t>CLICK TO ADD TEXT</a:t>
            </a:r>
          </a:p>
        </p:txBody>
      </p:sp>
    </p:spTree>
    <p:extLst>
      <p:ext uri="{BB962C8B-B14F-4D97-AF65-F5344CB8AC3E}">
        <p14:creationId xmlns:p14="http://schemas.microsoft.com/office/powerpoint/2010/main" val="200107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3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8793DC-5344-4D8A-A851-1F2B656BE8AE}"/>
              </a:ext>
            </a:extLst>
          </p:cNvPr>
          <p:cNvGraphicFramePr>
            <a:graphicFrameLocks noChangeAspect="1"/>
          </p:cNvGraphicFramePr>
          <p:nvPr userDrawn="1">
            <p:custDataLst>
              <p:tags r:id="rId1"/>
            </p:custDataLst>
            <p:extLst>
              <p:ext uri="{D42A27DB-BD31-4B8C-83A1-F6EECF244321}">
                <p14:modId xmlns:p14="http://schemas.microsoft.com/office/powerpoint/2010/main" val="3351657974"/>
              </p:ext>
            </p:ext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BD8793DC-5344-4D8A-A851-1F2B656BE8AE}"/>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6F549-D9E6-4047-BE5F-50CFF8FA4CED}"/>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0" i="0" baseline="0">
              <a:latin typeface="Futura Bk BT" panose="020B0502020204020303" pitchFamily="34" charset="0"/>
              <a:ea typeface="+mj-ea"/>
              <a:cs typeface="Arial" panose="020B0604020202020204" pitchFamily="34" charset="0"/>
              <a:sym typeface="Futura PT" panose="020B0602020204020303" pitchFamily="34" charset="0"/>
            </a:endParaRPr>
          </a:p>
        </p:txBody>
      </p:sp>
      <p:sp>
        <p:nvSpPr>
          <p:cNvPr id="2" name="Title 1"/>
          <p:cNvSpPr>
            <a:spLocks noGrp="1"/>
          </p:cNvSpPr>
          <p:nvPr>
            <p:ph type="title"/>
          </p:nvPr>
        </p:nvSpPr>
        <p:spPr/>
        <p:txBody>
          <a:bodyPr/>
          <a:lstStyle>
            <a:lvl1pPr>
              <a:defRPr sz="1800" baseline="0">
                <a:latin typeface="Futura Bk BT" panose="020B0502020204020303"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defRPr sz="788" baseline="0">
                <a:latin typeface="Futura Bk BT" panose="020B0502020204020303" pitchFamily="34" charset="0"/>
                <a:cs typeface="Arial" panose="020B0604020202020204" pitchFamily="34" charset="0"/>
              </a:defRPr>
            </a:lvl1pPr>
            <a:lvl2pPr>
              <a:defRPr sz="788" b="0" baseline="0">
                <a:latin typeface="Futura Bk BT" panose="020B0502020204020303" pitchFamily="34" charset="0"/>
                <a:cs typeface="Arial" panose="020B0604020202020204" pitchFamily="34" charset="0"/>
              </a:defRPr>
            </a:lvl2pPr>
            <a:lvl3pPr>
              <a:defRPr sz="788" b="0" baseline="0">
                <a:latin typeface="Futura Bk BT" panose="020B0502020204020303" pitchFamily="34" charset="0"/>
                <a:cs typeface="Arial" panose="020B0604020202020204" pitchFamily="34" charset="0"/>
              </a:defRPr>
            </a:lvl3pPr>
            <a:lvl4pPr>
              <a:defRPr sz="788" b="0" baseline="0">
                <a:latin typeface="Futura Bk BT" panose="020B0502020204020303" pitchFamily="34" charset="0"/>
                <a:cs typeface="Arial" panose="020B0604020202020204" pitchFamily="34" charset="0"/>
              </a:defRPr>
            </a:lvl4pPr>
            <a:lvl5pPr>
              <a:defRPr sz="788" b="0" baseline="0">
                <a:latin typeface="Futura Bk BT" panose="020B0502020204020303"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66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3270480431"/>
              </p:ext>
            </p:extLst>
          </p:nvPr>
        </p:nvGraphicFramePr>
        <p:xfrm>
          <a:off x="1192"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2"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1"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13"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6"/>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30" y="476250"/>
            <a:ext cx="8722343" cy="416927"/>
          </a:xfrm>
        </p:spPr>
        <p:txBody>
          <a:bodyPr wrap="square" anchor="t">
            <a:noAutofit/>
          </a:bodyPr>
          <a:lstStyle>
            <a:lvl1pPr algn="l">
              <a:defRPr sz="1913" b="1" i="0">
                <a:latin typeface="Futura PT Heavy" panose="020B0502020204020303" pitchFamily="34" charset="77"/>
              </a:defRPr>
            </a:lvl1pPr>
          </a:lstStyle>
          <a:p>
            <a:r>
              <a:rPr lang="en-US"/>
              <a:t>Click to edit Master title style</a:t>
            </a:r>
          </a:p>
        </p:txBody>
      </p:sp>
    </p:spTree>
    <p:extLst>
      <p:ext uri="{BB962C8B-B14F-4D97-AF65-F5344CB8AC3E}">
        <p14:creationId xmlns:p14="http://schemas.microsoft.com/office/powerpoint/2010/main" val="1731042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857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8A84127F-6C82-4254-9F7A-FFCDC227B869}"/>
              </a:ext>
            </a:extLst>
          </p:cNvPr>
          <p:cNvGraphicFramePr>
            <a:graphicFrameLocks noChangeAspect="1"/>
          </p:cNvGraphicFramePr>
          <p:nvPr userDrawn="1">
            <p:custDataLst>
              <p:tags r:id="rId1"/>
            </p:custDataLst>
            <p:extLst>
              <p:ext uri="{D42A27DB-BD31-4B8C-83A1-F6EECF244321}">
                <p14:modId xmlns:p14="http://schemas.microsoft.com/office/powerpoint/2010/main" val="3432349060"/>
              </p:ext>
            </p:ext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6" name="Object 25" hidden="1">
                        <a:extLst>
                          <a:ext uri="{FF2B5EF4-FFF2-40B4-BE49-F238E27FC236}">
                            <a16:creationId xmlns:a16="http://schemas.microsoft.com/office/drawing/2014/main" id="{8A84127F-6C82-4254-9F7A-FFCDC227B869}"/>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F767C61-75BB-48C0-9BB9-1CF19EAF2FA0}"/>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75" b="0" i="0" baseline="0">
              <a:latin typeface="Futura PT Heavy" panose="020B0802020204020303"/>
              <a:ea typeface="+mj-ea"/>
              <a:cs typeface="Arial" panose="020B0604020202020204" pitchFamily="34" charset="0"/>
              <a:sym typeface="Futura PT Heavy" panose="020B0802020204020303"/>
            </a:endParaRPr>
          </a:p>
        </p:txBody>
      </p:sp>
      <p:sp>
        <p:nvSpPr>
          <p:cNvPr id="4" name="Rectangle 3"/>
          <p:cNvSpPr/>
          <p:nvPr userDrawn="1"/>
        </p:nvSpPr>
        <p:spPr>
          <a:xfrm flipV="1">
            <a:off x="0" y="914400"/>
            <a:ext cx="9144000" cy="4229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sp>
        <p:nvSpPr>
          <p:cNvPr id="6" name="Rectangle 5"/>
          <p:cNvSpPr/>
          <p:nvPr userDrawn="1"/>
        </p:nvSpPr>
        <p:spPr>
          <a:xfrm>
            <a:off x="0" y="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sp>
        <p:nvSpPr>
          <p:cNvPr id="2" name="Title 1"/>
          <p:cNvSpPr>
            <a:spLocks noGrp="1"/>
          </p:cNvSpPr>
          <p:nvPr>
            <p:ph type="title"/>
          </p:nvPr>
        </p:nvSpPr>
        <p:spPr/>
        <p:txBody>
          <a:bodyPr/>
          <a:lstStyle>
            <a:lvl1pPr>
              <a:defRPr sz="1575" b="0" baseline="0">
                <a:solidFill>
                  <a:schemeClr val="tx2"/>
                </a:solidFill>
                <a:latin typeface="Futura PT Heavy" panose="020B0802020204020303" pitchFamily="34" charset="0"/>
                <a:cs typeface="Arial" panose="020B0604020202020204" pitchFamily="34" charset="0"/>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6728BC2-ACA3-447C-A909-F3F49211C066}" type="slidenum">
              <a:rPr lang="en-US" smtClean="0"/>
              <a:pPr/>
              <a:t>‹#›</a:t>
            </a:fld>
            <a:endParaRPr lang="en-US"/>
          </a:p>
        </p:txBody>
      </p:sp>
      <p:grpSp>
        <p:nvGrpSpPr>
          <p:cNvPr id="3" name="Group 2"/>
          <p:cNvGrpSpPr/>
          <p:nvPr userDrawn="1"/>
        </p:nvGrpSpPr>
        <p:grpSpPr>
          <a:xfrm>
            <a:off x="7264460" y="274307"/>
            <a:ext cx="1553307" cy="365789"/>
            <a:chOff x="7264458" y="365740"/>
            <a:chExt cx="1553307" cy="487719"/>
          </a:xfrm>
        </p:grpSpPr>
        <p:sp>
          <p:nvSpPr>
            <p:cNvPr id="8" name="Freeform 6"/>
            <p:cNvSpPr>
              <a:spLocks noEditPoints="1"/>
            </p:cNvSpPr>
            <p:nvPr userDrawn="1"/>
          </p:nvSpPr>
          <p:spPr bwMode="auto">
            <a:xfrm>
              <a:off x="7264458" y="705011"/>
              <a:ext cx="148988" cy="144669"/>
            </a:xfrm>
            <a:custGeom>
              <a:avLst/>
              <a:gdLst>
                <a:gd name="T0" fmla="*/ 98 w 552"/>
                <a:gd name="T1" fmla="*/ 79 h 536"/>
                <a:gd name="T2" fmla="*/ 98 w 552"/>
                <a:gd name="T3" fmla="*/ 241 h 536"/>
                <a:gd name="T4" fmla="*/ 307 w 552"/>
                <a:gd name="T5" fmla="*/ 241 h 536"/>
                <a:gd name="T6" fmla="*/ 342 w 552"/>
                <a:gd name="T7" fmla="*/ 241 h 536"/>
                <a:gd name="T8" fmla="*/ 374 w 552"/>
                <a:gd name="T9" fmla="*/ 238 h 536"/>
                <a:gd name="T10" fmla="*/ 398 w 552"/>
                <a:gd name="T11" fmla="*/ 231 h 536"/>
                <a:gd name="T12" fmla="*/ 417 w 552"/>
                <a:gd name="T13" fmla="*/ 222 h 536"/>
                <a:gd name="T14" fmla="*/ 431 w 552"/>
                <a:gd name="T15" fmla="*/ 206 h 536"/>
                <a:gd name="T16" fmla="*/ 440 w 552"/>
                <a:gd name="T17" fmla="*/ 187 h 536"/>
                <a:gd name="T18" fmla="*/ 443 w 552"/>
                <a:gd name="T19" fmla="*/ 161 h 536"/>
                <a:gd name="T20" fmla="*/ 440 w 552"/>
                <a:gd name="T21" fmla="*/ 135 h 536"/>
                <a:gd name="T22" fmla="*/ 431 w 552"/>
                <a:gd name="T23" fmla="*/ 114 h 536"/>
                <a:gd name="T24" fmla="*/ 417 w 552"/>
                <a:gd name="T25" fmla="*/ 100 h 536"/>
                <a:gd name="T26" fmla="*/ 398 w 552"/>
                <a:gd name="T27" fmla="*/ 89 h 536"/>
                <a:gd name="T28" fmla="*/ 374 w 552"/>
                <a:gd name="T29" fmla="*/ 84 h 536"/>
                <a:gd name="T30" fmla="*/ 342 w 552"/>
                <a:gd name="T31" fmla="*/ 80 h 536"/>
                <a:gd name="T32" fmla="*/ 307 w 552"/>
                <a:gd name="T33" fmla="*/ 79 h 536"/>
                <a:gd name="T34" fmla="*/ 98 w 552"/>
                <a:gd name="T35" fmla="*/ 79 h 536"/>
                <a:gd name="T36" fmla="*/ 0 w 552"/>
                <a:gd name="T37" fmla="*/ 0 h 536"/>
                <a:gd name="T38" fmla="*/ 323 w 552"/>
                <a:gd name="T39" fmla="*/ 0 h 536"/>
                <a:gd name="T40" fmla="*/ 377 w 552"/>
                <a:gd name="T41" fmla="*/ 2 h 536"/>
                <a:gd name="T42" fmla="*/ 422 w 552"/>
                <a:gd name="T43" fmla="*/ 9 h 536"/>
                <a:gd name="T44" fmla="*/ 461 w 552"/>
                <a:gd name="T45" fmla="*/ 19 h 536"/>
                <a:gd name="T46" fmla="*/ 490 w 552"/>
                <a:gd name="T47" fmla="*/ 37 h 536"/>
                <a:gd name="T48" fmla="*/ 513 w 552"/>
                <a:gd name="T49" fmla="*/ 58 h 536"/>
                <a:gd name="T50" fmla="*/ 529 w 552"/>
                <a:gd name="T51" fmla="*/ 86 h 536"/>
                <a:gd name="T52" fmla="*/ 538 w 552"/>
                <a:gd name="T53" fmla="*/ 119 h 536"/>
                <a:gd name="T54" fmla="*/ 541 w 552"/>
                <a:gd name="T55" fmla="*/ 157 h 536"/>
                <a:gd name="T56" fmla="*/ 538 w 552"/>
                <a:gd name="T57" fmla="*/ 194 h 536"/>
                <a:gd name="T58" fmla="*/ 529 w 552"/>
                <a:gd name="T59" fmla="*/ 225 h 536"/>
                <a:gd name="T60" fmla="*/ 513 w 552"/>
                <a:gd name="T61" fmla="*/ 252 h 536"/>
                <a:gd name="T62" fmla="*/ 494 w 552"/>
                <a:gd name="T63" fmla="*/ 272 h 536"/>
                <a:gd name="T64" fmla="*/ 473 w 552"/>
                <a:gd name="T65" fmla="*/ 290 h 536"/>
                <a:gd name="T66" fmla="*/ 447 w 552"/>
                <a:gd name="T67" fmla="*/ 302 h 536"/>
                <a:gd name="T68" fmla="*/ 421 w 552"/>
                <a:gd name="T69" fmla="*/ 311 h 536"/>
                <a:gd name="T70" fmla="*/ 393 w 552"/>
                <a:gd name="T71" fmla="*/ 314 h 536"/>
                <a:gd name="T72" fmla="*/ 384 w 552"/>
                <a:gd name="T73" fmla="*/ 314 h 536"/>
                <a:gd name="T74" fmla="*/ 552 w 552"/>
                <a:gd name="T75" fmla="*/ 536 h 536"/>
                <a:gd name="T76" fmla="*/ 431 w 552"/>
                <a:gd name="T77" fmla="*/ 536 h 536"/>
                <a:gd name="T78" fmla="*/ 274 w 552"/>
                <a:gd name="T79" fmla="*/ 323 h 536"/>
                <a:gd name="T80" fmla="*/ 274 w 552"/>
                <a:gd name="T81" fmla="*/ 321 h 536"/>
                <a:gd name="T82" fmla="*/ 98 w 552"/>
                <a:gd name="T83" fmla="*/ 321 h 536"/>
                <a:gd name="T84" fmla="*/ 98 w 552"/>
                <a:gd name="T85" fmla="*/ 536 h 536"/>
                <a:gd name="T86" fmla="*/ 0 w 552"/>
                <a:gd name="T87" fmla="*/ 536 h 536"/>
                <a:gd name="T88" fmla="*/ 0 w 552"/>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536">
                  <a:moveTo>
                    <a:pt x="98" y="79"/>
                  </a:moveTo>
                  <a:lnTo>
                    <a:pt x="98" y="241"/>
                  </a:lnTo>
                  <a:lnTo>
                    <a:pt x="307" y="241"/>
                  </a:lnTo>
                  <a:lnTo>
                    <a:pt x="342" y="241"/>
                  </a:lnTo>
                  <a:lnTo>
                    <a:pt x="374" y="238"/>
                  </a:lnTo>
                  <a:lnTo>
                    <a:pt x="398" y="231"/>
                  </a:lnTo>
                  <a:lnTo>
                    <a:pt x="417" y="222"/>
                  </a:lnTo>
                  <a:lnTo>
                    <a:pt x="431" y="206"/>
                  </a:lnTo>
                  <a:lnTo>
                    <a:pt x="440" y="187"/>
                  </a:lnTo>
                  <a:lnTo>
                    <a:pt x="443" y="161"/>
                  </a:lnTo>
                  <a:lnTo>
                    <a:pt x="440" y="135"/>
                  </a:lnTo>
                  <a:lnTo>
                    <a:pt x="431" y="114"/>
                  </a:lnTo>
                  <a:lnTo>
                    <a:pt x="417" y="100"/>
                  </a:lnTo>
                  <a:lnTo>
                    <a:pt x="398" y="89"/>
                  </a:lnTo>
                  <a:lnTo>
                    <a:pt x="374" y="84"/>
                  </a:lnTo>
                  <a:lnTo>
                    <a:pt x="342" y="80"/>
                  </a:lnTo>
                  <a:lnTo>
                    <a:pt x="307" y="79"/>
                  </a:lnTo>
                  <a:lnTo>
                    <a:pt x="98" y="79"/>
                  </a:lnTo>
                  <a:close/>
                  <a:moveTo>
                    <a:pt x="0" y="0"/>
                  </a:moveTo>
                  <a:lnTo>
                    <a:pt x="323" y="0"/>
                  </a:lnTo>
                  <a:lnTo>
                    <a:pt x="377" y="2"/>
                  </a:lnTo>
                  <a:lnTo>
                    <a:pt x="422" y="9"/>
                  </a:lnTo>
                  <a:lnTo>
                    <a:pt x="461" y="19"/>
                  </a:lnTo>
                  <a:lnTo>
                    <a:pt x="490" y="37"/>
                  </a:lnTo>
                  <a:lnTo>
                    <a:pt x="513" y="58"/>
                  </a:lnTo>
                  <a:lnTo>
                    <a:pt x="529" y="86"/>
                  </a:lnTo>
                  <a:lnTo>
                    <a:pt x="538" y="119"/>
                  </a:lnTo>
                  <a:lnTo>
                    <a:pt x="541" y="157"/>
                  </a:lnTo>
                  <a:lnTo>
                    <a:pt x="538" y="194"/>
                  </a:lnTo>
                  <a:lnTo>
                    <a:pt x="529" y="225"/>
                  </a:lnTo>
                  <a:lnTo>
                    <a:pt x="513" y="252"/>
                  </a:lnTo>
                  <a:lnTo>
                    <a:pt x="494" y="272"/>
                  </a:lnTo>
                  <a:lnTo>
                    <a:pt x="473" y="290"/>
                  </a:lnTo>
                  <a:lnTo>
                    <a:pt x="447" y="302"/>
                  </a:lnTo>
                  <a:lnTo>
                    <a:pt x="421" y="311"/>
                  </a:lnTo>
                  <a:lnTo>
                    <a:pt x="393" y="314"/>
                  </a:lnTo>
                  <a:lnTo>
                    <a:pt x="384" y="314"/>
                  </a:lnTo>
                  <a:lnTo>
                    <a:pt x="552" y="536"/>
                  </a:lnTo>
                  <a:lnTo>
                    <a:pt x="431" y="536"/>
                  </a:lnTo>
                  <a:lnTo>
                    <a:pt x="274" y="323"/>
                  </a:lnTo>
                  <a:lnTo>
                    <a:pt x="274" y="321"/>
                  </a:lnTo>
                  <a:lnTo>
                    <a:pt x="98" y="321"/>
                  </a:lnTo>
                  <a:lnTo>
                    <a:pt x="98"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9" name="Freeform 7"/>
            <p:cNvSpPr>
              <a:spLocks/>
            </p:cNvSpPr>
            <p:nvPr userDrawn="1"/>
          </p:nvSpPr>
          <p:spPr bwMode="auto">
            <a:xfrm>
              <a:off x="7450153" y="705011"/>
              <a:ext cx="131714" cy="144669"/>
            </a:xfrm>
            <a:custGeom>
              <a:avLst/>
              <a:gdLst>
                <a:gd name="T0" fmla="*/ 0 w 488"/>
                <a:gd name="T1" fmla="*/ 0 h 536"/>
                <a:gd name="T2" fmla="*/ 440 w 488"/>
                <a:gd name="T3" fmla="*/ 0 h 536"/>
                <a:gd name="T4" fmla="*/ 455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5 w 488"/>
                <a:gd name="T17" fmla="*/ 79 h 536"/>
                <a:gd name="T18" fmla="*/ 440 w 488"/>
                <a:gd name="T19" fmla="*/ 82 h 536"/>
                <a:gd name="T20" fmla="*/ 97 w 488"/>
                <a:gd name="T21" fmla="*/ 82 h 536"/>
                <a:gd name="T22" fmla="*/ 97 w 488"/>
                <a:gd name="T23" fmla="*/ 218 h 536"/>
                <a:gd name="T24" fmla="*/ 354 w 488"/>
                <a:gd name="T25" fmla="*/ 218 h 536"/>
                <a:gd name="T26" fmla="*/ 370 w 488"/>
                <a:gd name="T27" fmla="*/ 222 h 536"/>
                <a:gd name="T28" fmla="*/ 384 w 488"/>
                <a:gd name="T29" fmla="*/ 231 h 536"/>
                <a:gd name="T30" fmla="*/ 392 w 488"/>
                <a:gd name="T31" fmla="*/ 243 h 536"/>
                <a:gd name="T32" fmla="*/ 396 w 488"/>
                <a:gd name="T33" fmla="*/ 259 h 536"/>
                <a:gd name="T34" fmla="*/ 392 w 488"/>
                <a:gd name="T35" fmla="*/ 276 h 536"/>
                <a:gd name="T36" fmla="*/ 384 w 488"/>
                <a:gd name="T37" fmla="*/ 288 h 536"/>
                <a:gd name="T38" fmla="*/ 370 w 488"/>
                <a:gd name="T39" fmla="*/ 297 h 536"/>
                <a:gd name="T40" fmla="*/ 354 w 488"/>
                <a:gd name="T41" fmla="*/ 300 h 536"/>
                <a:gd name="T42" fmla="*/ 97 w 488"/>
                <a:gd name="T43" fmla="*/ 300 h 536"/>
                <a:gd name="T44" fmla="*/ 97 w 488"/>
                <a:gd name="T45" fmla="*/ 454 h 536"/>
                <a:gd name="T46" fmla="*/ 448 w 488"/>
                <a:gd name="T47" fmla="*/ 454 h 536"/>
                <a:gd name="T48" fmla="*/ 464 w 488"/>
                <a:gd name="T49" fmla="*/ 457 h 536"/>
                <a:gd name="T50" fmla="*/ 478 w 488"/>
                <a:gd name="T51" fmla="*/ 466 h 536"/>
                <a:gd name="T52" fmla="*/ 487 w 488"/>
                <a:gd name="T53" fmla="*/ 478 h 536"/>
                <a:gd name="T54" fmla="*/ 488 w 488"/>
                <a:gd name="T55" fmla="*/ 494 h 536"/>
                <a:gd name="T56" fmla="*/ 487 w 488"/>
                <a:gd name="T57" fmla="*/ 512 h 536"/>
                <a:gd name="T58" fmla="*/ 478 w 488"/>
                <a:gd name="T59" fmla="*/ 524 h 536"/>
                <a:gd name="T60" fmla="*/ 464 w 488"/>
                <a:gd name="T61" fmla="*/ 533 h 536"/>
                <a:gd name="T62" fmla="*/ 448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40" y="0"/>
                  </a:lnTo>
                  <a:lnTo>
                    <a:pt x="455" y="2"/>
                  </a:lnTo>
                  <a:lnTo>
                    <a:pt x="467" y="12"/>
                  </a:lnTo>
                  <a:lnTo>
                    <a:pt x="476" y="25"/>
                  </a:lnTo>
                  <a:lnTo>
                    <a:pt x="480" y="40"/>
                  </a:lnTo>
                  <a:lnTo>
                    <a:pt x="476" y="56"/>
                  </a:lnTo>
                  <a:lnTo>
                    <a:pt x="467" y="70"/>
                  </a:lnTo>
                  <a:lnTo>
                    <a:pt x="455" y="79"/>
                  </a:lnTo>
                  <a:lnTo>
                    <a:pt x="440" y="82"/>
                  </a:lnTo>
                  <a:lnTo>
                    <a:pt x="97" y="82"/>
                  </a:lnTo>
                  <a:lnTo>
                    <a:pt x="97" y="218"/>
                  </a:lnTo>
                  <a:lnTo>
                    <a:pt x="354" y="218"/>
                  </a:lnTo>
                  <a:lnTo>
                    <a:pt x="370" y="222"/>
                  </a:lnTo>
                  <a:lnTo>
                    <a:pt x="384" y="231"/>
                  </a:lnTo>
                  <a:lnTo>
                    <a:pt x="392" y="243"/>
                  </a:lnTo>
                  <a:lnTo>
                    <a:pt x="396" y="259"/>
                  </a:lnTo>
                  <a:lnTo>
                    <a:pt x="392" y="276"/>
                  </a:lnTo>
                  <a:lnTo>
                    <a:pt x="384" y="288"/>
                  </a:lnTo>
                  <a:lnTo>
                    <a:pt x="370" y="297"/>
                  </a:lnTo>
                  <a:lnTo>
                    <a:pt x="354" y="300"/>
                  </a:lnTo>
                  <a:lnTo>
                    <a:pt x="97" y="300"/>
                  </a:lnTo>
                  <a:lnTo>
                    <a:pt x="97" y="454"/>
                  </a:lnTo>
                  <a:lnTo>
                    <a:pt x="448" y="454"/>
                  </a:lnTo>
                  <a:lnTo>
                    <a:pt x="464" y="457"/>
                  </a:lnTo>
                  <a:lnTo>
                    <a:pt x="478" y="466"/>
                  </a:lnTo>
                  <a:lnTo>
                    <a:pt x="487" y="478"/>
                  </a:lnTo>
                  <a:lnTo>
                    <a:pt x="488" y="494"/>
                  </a:lnTo>
                  <a:lnTo>
                    <a:pt x="487" y="512"/>
                  </a:lnTo>
                  <a:lnTo>
                    <a:pt x="478" y="524"/>
                  </a:lnTo>
                  <a:lnTo>
                    <a:pt x="464" y="533"/>
                  </a:lnTo>
                  <a:lnTo>
                    <a:pt x="448"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0" name="Freeform 8"/>
            <p:cNvSpPr>
              <a:spLocks/>
            </p:cNvSpPr>
            <p:nvPr userDrawn="1"/>
          </p:nvSpPr>
          <p:spPr bwMode="auto">
            <a:xfrm>
              <a:off x="7613446" y="705011"/>
              <a:ext cx="154116" cy="144669"/>
            </a:xfrm>
            <a:custGeom>
              <a:avLst/>
              <a:gdLst>
                <a:gd name="T0" fmla="*/ 48 w 571"/>
                <a:gd name="T1" fmla="*/ 0 h 536"/>
                <a:gd name="T2" fmla="*/ 65 w 571"/>
                <a:gd name="T3" fmla="*/ 4 h 536"/>
                <a:gd name="T4" fmla="*/ 79 w 571"/>
                <a:gd name="T5" fmla="*/ 12 h 536"/>
                <a:gd name="T6" fmla="*/ 89 w 571"/>
                <a:gd name="T7" fmla="*/ 26 h 536"/>
                <a:gd name="T8" fmla="*/ 280 w 571"/>
                <a:gd name="T9" fmla="*/ 431 h 536"/>
                <a:gd name="T10" fmla="*/ 285 w 571"/>
                <a:gd name="T11" fmla="*/ 440 h 536"/>
                <a:gd name="T12" fmla="*/ 484 w 571"/>
                <a:gd name="T13" fmla="*/ 26 h 536"/>
                <a:gd name="T14" fmla="*/ 494 w 571"/>
                <a:gd name="T15" fmla="*/ 12 h 536"/>
                <a:gd name="T16" fmla="*/ 508 w 571"/>
                <a:gd name="T17" fmla="*/ 2 h 536"/>
                <a:gd name="T18" fmla="*/ 526 w 571"/>
                <a:gd name="T19" fmla="*/ 0 h 536"/>
                <a:gd name="T20" fmla="*/ 541 w 571"/>
                <a:gd name="T21" fmla="*/ 2 h 536"/>
                <a:gd name="T22" fmla="*/ 554 w 571"/>
                <a:gd name="T23" fmla="*/ 9 h 536"/>
                <a:gd name="T24" fmla="*/ 564 w 571"/>
                <a:gd name="T25" fmla="*/ 21 h 536"/>
                <a:gd name="T26" fmla="*/ 571 w 571"/>
                <a:gd name="T27" fmla="*/ 35 h 536"/>
                <a:gd name="T28" fmla="*/ 571 w 571"/>
                <a:gd name="T29" fmla="*/ 51 h 536"/>
                <a:gd name="T30" fmla="*/ 568 w 571"/>
                <a:gd name="T31" fmla="*/ 67 h 536"/>
                <a:gd name="T32" fmla="*/ 337 w 571"/>
                <a:gd name="T33" fmla="*/ 536 h 536"/>
                <a:gd name="T34" fmla="*/ 233 w 571"/>
                <a:gd name="T35" fmla="*/ 536 h 536"/>
                <a:gd name="T36" fmla="*/ 6 w 571"/>
                <a:gd name="T37" fmla="*/ 67 h 536"/>
                <a:gd name="T38" fmla="*/ 0 w 571"/>
                <a:gd name="T39" fmla="*/ 51 h 536"/>
                <a:gd name="T40" fmla="*/ 2 w 571"/>
                <a:gd name="T41" fmla="*/ 35 h 536"/>
                <a:gd name="T42" fmla="*/ 7 w 571"/>
                <a:gd name="T43" fmla="*/ 21 h 536"/>
                <a:gd name="T44" fmla="*/ 18 w 571"/>
                <a:gd name="T45" fmla="*/ 9 h 536"/>
                <a:gd name="T46" fmla="*/ 32 w 571"/>
                <a:gd name="T47" fmla="*/ 2 h 536"/>
                <a:gd name="T48" fmla="*/ 48 w 571"/>
                <a:gd name="T4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1" h="536">
                  <a:moveTo>
                    <a:pt x="48" y="0"/>
                  </a:moveTo>
                  <a:lnTo>
                    <a:pt x="65" y="4"/>
                  </a:lnTo>
                  <a:lnTo>
                    <a:pt x="79" y="12"/>
                  </a:lnTo>
                  <a:lnTo>
                    <a:pt x="89" y="26"/>
                  </a:lnTo>
                  <a:lnTo>
                    <a:pt x="280" y="431"/>
                  </a:lnTo>
                  <a:lnTo>
                    <a:pt x="285" y="440"/>
                  </a:lnTo>
                  <a:lnTo>
                    <a:pt x="484" y="26"/>
                  </a:lnTo>
                  <a:lnTo>
                    <a:pt x="494" y="12"/>
                  </a:lnTo>
                  <a:lnTo>
                    <a:pt x="508" y="2"/>
                  </a:lnTo>
                  <a:lnTo>
                    <a:pt x="526" y="0"/>
                  </a:lnTo>
                  <a:lnTo>
                    <a:pt x="541" y="2"/>
                  </a:lnTo>
                  <a:lnTo>
                    <a:pt x="554" y="9"/>
                  </a:lnTo>
                  <a:lnTo>
                    <a:pt x="564" y="21"/>
                  </a:lnTo>
                  <a:lnTo>
                    <a:pt x="571" y="35"/>
                  </a:lnTo>
                  <a:lnTo>
                    <a:pt x="571" y="51"/>
                  </a:lnTo>
                  <a:lnTo>
                    <a:pt x="568" y="67"/>
                  </a:lnTo>
                  <a:lnTo>
                    <a:pt x="337" y="536"/>
                  </a:lnTo>
                  <a:lnTo>
                    <a:pt x="233" y="536"/>
                  </a:lnTo>
                  <a:lnTo>
                    <a:pt x="6" y="67"/>
                  </a:lnTo>
                  <a:lnTo>
                    <a:pt x="0" y="51"/>
                  </a:lnTo>
                  <a:lnTo>
                    <a:pt x="2" y="35"/>
                  </a:lnTo>
                  <a:lnTo>
                    <a:pt x="7" y="21"/>
                  </a:lnTo>
                  <a:lnTo>
                    <a:pt x="18" y="9"/>
                  </a:lnTo>
                  <a:lnTo>
                    <a:pt x="32" y="2"/>
                  </a:lnTo>
                  <a:lnTo>
                    <a:pt x="4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1" name="Freeform 9"/>
            <p:cNvSpPr>
              <a:spLocks noEditPoints="1"/>
            </p:cNvSpPr>
            <p:nvPr userDrawn="1"/>
          </p:nvSpPr>
          <p:spPr bwMode="auto">
            <a:xfrm>
              <a:off x="7767562" y="705011"/>
              <a:ext cx="173010" cy="144669"/>
            </a:xfrm>
            <a:custGeom>
              <a:avLst/>
              <a:gdLst>
                <a:gd name="T0" fmla="*/ 321 w 641"/>
                <a:gd name="T1" fmla="*/ 70 h 536"/>
                <a:gd name="T2" fmla="*/ 201 w 641"/>
                <a:gd name="T3" fmla="*/ 328 h 536"/>
                <a:gd name="T4" fmla="*/ 443 w 641"/>
                <a:gd name="T5" fmla="*/ 328 h 536"/>
                <a:gd name="T6" fmla="*/ 321 w 641"/>
                <a:gd name="T7" fmla="*/ 70 h 536"/>
                <a:gd name="T8" fmla="*/ 264 w 641"/>
                <a:gd name="T9" fmla="*/ 0 h 536"/>
                <a:gd name="T10" fmla="*/ 381 w 641"/>
                <a:gd name="T11" fmla="*/ 0 h 536"/>
                <a:gd name="T12" fmla="*/ 641 w 641"/>
                <a:gd name="T13" fmla="*/ 536 h 536"/>
                <a:gd name="T14" fmla="*/ 538 w 641"/>
                <a:gd name="T15" fmla="*/ 536 h 536"/>
                <a:gd name="T16" fmla="*/ 482 w 641"/>
                <a:gd name="T17" fmla="*/ 414 h 536"/>
                <a:gd name="T18" fmla="*/ 480 w 641"/>
                <a:gd name="T19" fmla="*/ 410 h 536"/>
                <a:gd name="T20" fmla="*/ 161 w 641"/>
                <a:gd name="T21" fmla="*/ 410 h 536"/>
                <a:gd name="T22" fmla="*/ 103 w 641"/>
                <a:gd name="T23" fmla="*/ 536 h 536"/>
                <a:gd name="T24" fmla="*/ 0 w 641"/>
                <a:gd name="T25" fmla="*/ 536 h 536"/>
                <a:gd name="T26" fmla="*/ 264 w 641"/>
                <a:gd name="T2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1" h="536">
                  <a:moveTo>
                    <a:pt x="321" y="70"/>
                  </a:moveTo>
                  <a:lnTo>
                    <a:pt x="201" y="328"/>
                  </a:lnTo>
                  <a:lnTo>
                    <a:pt x="443" y="328"/>
                  </a:lnTo>
                  <a:lnTo>
                    <a:pt x="321" y="70"/>
                  </a:lnTo>
                  <a:close/>
                  <a:moveTo>
                    <a:pt x="264" y="0"/>
                  </a:moveTo>
                  <a:lnTo>
                    <a:pt x="381" y="0"/>
                  </a:lnTo>
                  <a:lnTo>
                    <a:pt x="641" y="536"/>
                  </a:lnTo>
                  <a:lnTo>
                    <a:pt x="538" y="536"/>
                  </a:lnTo>
                  <a:lnTo>
                    <a:pt x="482" y="414"/>
                  </a:lnTo>
                  <a:lnTo>
                    <a:pt x="480" y="410"/>
                  </a:lnTo>
                  <a:lnTo>
                    <a:pt x="161" y="410"/>
                  </a:lnTo>
                  <a:lnTo>
                    <a:pt x="103" y="536"/>
                  </a:lnTo>
                  <a:lnTo>
                    <a:pt x="0" y="536"/>
                  </a:lnTo>
                  <a:lnTo>
                    <a:pt x="26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2" name="Freeform 10"/>
            <p:cNvSpPr>
              <a:spLocks/>
            </p:cNvSpPr>
            <p:nvPr userDrawn="1"/>
          </p:nvSpPr>
          <p:spPr bwMode="auto">
            <a:xfrm>
              <a:off x="7934364" y="705011"/>
              <a:ext cx="157895" cy="144669"/>
            </a:xfrm>
            <a:custGeom>
              <a:avLst/>
              <a:gdLst>
                <a:gd name="T0" fmla="*/ 42 w 585"/>
                <a:gd name="T1" fmla="*/ 0 h 536"/>
                <a:gd name="T2" fmla="*/ 545 w 585"/>
                <a:gd name="T3" fmla="*/ 0 h 536"/>
                <a:gd name="T4" fmla="*/ 560 w 585"/>
                <a:gd name="T5" fmla="*/ 2 h 536"/>
                <a:gd name="T6" fmla="*/ 574 w 585"/>
                <a:gd name="T7" fmla="*/ 12 h 536"/>
                <a:gd name="T8" fmla="*/ 583 w 585"/>
                <a:gd name="T9" fmla="*/ 25 h 536"/>
                <a:gd name="T10" fmla="*/ 585 w 585"/>
                <a:gd name="T11" fmla="*/ 40 h 536"/>
                <a:gd name="T12" fmla="*/ 583 w 585"/>
                <a:gd name="T13" fmla="*/ 56 h 536"/>
                <a:gd name="T14" fmla="*/ 574 w 585"/>
                <a:gd name="T15" fmla="*/ 70 h 536"/>
                <a:gd name="T16" fmla="*/ 560 w 585"/>
                <a:gd name="T17" fmla="*/ 79 h 536"/>
                <a:gd name="T18" fmla="*/ 545 w 585"/>
                <a:gd name="T19" fmla="*/ 82 h 536"/>
                <a:gd name="T20" fmla="*/ 342 w 585"/>
                <a:gd name="T21" fmla="*/ 82 h 536"/>
                <a:gd name="T22" fmla="*/ 342 w 585"/>
                <a:gd name="T23" fmla="*/ 536 h 536"/>
                <a:gd name="T24" fmla="*/ 244 w 585"/>
                <a:gd name="T25" fmla="*/ 536 h 536"/>
                <a:gd name="T26" fmla="*/ 244 w 585"/>
                <a:gd name="T27" fmla="*/ 82 h 536"/>
                <a:gd name="T28" fmla="*/ 42 w 585"/>
                <a:gd name="T29" fmla="*/ 82 h 536"/>
                <a:gd name="T30" fmla="*/ 26 w 585"/>
                <a:gd name="T31" fmla="*/ 79 h 536"/>
                <a:gd name="T32" fmla="*/ 12 w 585"/>
                <a:gd name="T33" fmla="*/ 70 h 536"/>
                <a:gd name="T34" fmla="*/ 4 w 585"/>
                <a:gd name="T35" fmla="*/ 56 h 536"/>
                <a:gd name="T36" fmla="*/ 0 w 585"/>
                <a:gd name="T37" fmla="*/ 40 h 536"/>
                <a:gd name="T38" fmla="*/ 4 w 585"/>
                <a:gd name="T39" fmla="*/ 25 h 536"/>
                <a:gd name="T40" fmla="*/ 12 w 585"/>
                <a:gd name="T41" fmla="*/ 12 h 536"/>
                <a:gd name="T42" fmla="*/ 26 w 585"/>
                <a:gd name="T43" fmla="*/ 2 h 536"/>
                <a:gd name="T44" fmla="*/ 42 w 585"/>
                <a:gd name="T45"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5" h="536">
                  <a:moveTo>
                    <a:pt x="42" y="0"/>
                  </a:moveTo>
                  <a:lnTo>
                    <a:pt x="545" y="0"/>
                  </a:lnTo>
                  <a:lnTo>
                    <a:pt x="560" y="2"/>
                  </a:lnTo>
                  <a:lnTo>
                    <a:pt x="574" y="12"/>
                  </a:lnTo>
                  <a:lnTo>
                    <a:pt x="583" y="25"/>
                  </a:lnTo>
                  <a:lnTo>
                    <a:pt x="585" y="40"/>
                  </a:lnTo>
                  <a:lnTo>
                    <a:pt x="583" y="56"/>
                  </a:lnTo>
                  <a:lnTo>
                    <a:pt x="574" y="70"/>
                  </a:lnTo>
                  <a:lnTo>
                    <a:pt x="560" y="79"/>
                  </a:lnTo>
                  <a:lnTo>
                    <a:pt x="545" y="82"/>
                  </a:lnTo>
                  <a:lnTo>
                    <a:pt x="342" y="82"/>
                  </a:lnTo>
                  <a:lnTo>
                    <a:pt x="342" y="536"/>
                  </a:lnTo>
                  <a:lnTo>
                    <a:pt x="244" y="536"/>
                  </a:lnTo>
                  <a:lnTo>
                    <a:pt x="244" y="82"/>
                  </a:lnTo>
                  <a:lnTo>
                    <a:pt x="42" y="82"/>
                  </a:lnTo>
                  <a:lnTo>
                    <a:pt x="26" y="79"/>
                  </a:lnTo>
                  <a:lnTo>
                    <a:pt x="12" y="70"/>
                  </a:lnTo>
                  <a:lnTo>
                    <a:pt x="4" y="56"/>
                  </a:lnTo>
                  <a:lnTo>
                    <a:pt x="0" y="40"/>
                  </a:lnTo>
                  <a:lnTo>
                    <a:pt x="4" y="25"/>
                  </a:lnTo>
                  <a:lnTo>
                    <a:pt x="12" y="12"/>
                  </a:lnTo>
                  <a:lnTo>
                    <a:pt x="26" y="2"/>
                  </a:lnTo>
                  <a:lnTo>
                    <a:pt x="4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3" name="Freeform 11"/>
            <p:cNvSpPr>
              <a:spLocks/>
            </p:cNvSpPr>
            <p:nvPr userDrawn="1"/>
          </p:nvSpPr>
          <p:spPr bwMode="auto">
            <a:xfrm>
              <a:off x="8122758" y="705011"/>
              <a:ext cx="154116" cy="148448"/>
            </a:xfrm>
            <a:custGeom>
              <a:avLst/>
              <a:gdLst>
                <a:gd name="T0" fmla="*/ 49 w 571"/>
                <a:gd name="T1" fmla="*/ 0 h 550"/>
                <a:gd name="T2" fmla="*/ 68 w 571"/>
                <a:gd name="T3" fmla="*/ 4 h 550"/>
                <a:gd name="T4" fmla="*/ 84 w 571"/>
                <a:gd name="T5" fmla="*/ 14 h 550"/>
                <a:gd name="T6" fmla="*/ 94 w 571"/>
                <a:gd name="T7" fmla="*/ 30 h 550"/>
                <a:gd name="T8" fmla="*/ 98 w 571"/>
                <a:gd name="T9" fmla="*/ 49 h 550"/>
                <a:gd name="T10" fmla="*/ 98 w 571"/>
                <a:gd name="T11" fmla="*/ 299 h 550"/>
                <a:gd name="T12" fmla="*/ 98 w 571"/>
                <a:gd name="T13" fmla="*/ 320 h 550"/>
                <a:gd name="T14" fmla="*/ 101 w 571"/>
                <a:gd name="T15" fmla="*/ 342 h 550"/>
                <a:gd name="T16" fmla="*/ 105 w 571"/>
                <a:gd name="T17" fmla="*/ 363 h 550"/>
                <a:gd name="T18" fmla="*/ 112 w 571"/>
                <a:gd name="T19" fmla="*/ 384 h 550"/>
                <a:gd name="T20" fmla="*/ 122 w 571"/>
                <a:gd name="T21" fmla="*/ 403 h 550"/>
                <a:gd name="T22" fmla="*/ 136 w 571"/>
                <a:gd name="T23" fmla="*/ 421 h 550"/>
                <a:gd name="T24" fmla="*/ 156 w 571"/>
                <a:gd name="T25" fmla="*/ 437 h 550"/>
                <a:gd name="T26" fmla="*/ 180 w 571"/>
                <a:gd name="T27" fmla="*/ 449 h 550"/>
                <a:gd name="T28" fmla="*/ 208 w 571"/>
                <a:gd name="T29" fmla="*/ 459 h 550"/>
                <a:gd name="T30" fmla="*/ 245 w 571"/>
                <a:gd name="T31" fmla="*/ 464 h 550"/>
                <a:gd name="T32" fmla="*/ 286 w 571"/>
                <a:gd name="T33" fmla="*/ 466 h 550"/>
                <a:gd name="T34" fmla="*/ 328 w 571"/>
                <a:gd name="T35" fmla="*/ 464 h 550"/>
                <a:gd name="T36" fmla="*/ 363 w 571"/>
                <a:gd name="T37" fmla="*/ 459 h 550"/>
                <a:gd name="T38" fmla="*/ 391 w 571"/>
                <a:gd name="T39" fmla="*/ 449 h 550"/>
                <a:gd name="T40" fmla="*/ 416 w 571"/>
                <a:gd name="T41" fmla="*/ 437 h 550"/>
                <a:gd name="T42" fmla="*/ 435 w 571"/>
                <a:gd name="T43" fmla="*/ 421 h 550"/>
                <a:gd name="T44" fmla="*/ 449 w 571"/>
                <a:gd name="T45" fmla="*/ 403 h 550"/>
                <a:gd name="T46" fmla="*/ 459 w 571"/>
                <a:gd name="T47" fmla="*/ 384 h 550"/>
                <a:gd name="T48" fmla="*/ 466 w 571"/>
                <a:gd name="T49" fmla="*/ 363 h 550"/>
                <a:gd name="T50" fmla="*/ 470 w 571"/>
                <a:gd name="T51" fmla="*/ 342 h 550"/>
                <a:gd name="T52" fmla="*/ 473 w 571"/>
                <a:gd name="T53" fmla="*/ 320 h 550"/>
                <a:gd name="T54" fmla="*/ 473 w 571"/>
                <a:gd name="T55" fmla="*/ 299 h 550"/>
                <a:gd name="T56" fmla="*/ 473 w 571"/>
                <a:gd name="T57" fmla="*/ 49 h 550"/>
                <a:gd name="T58" fmla="*/ 477 w 571"/>
                <a:gd name="T59" fmla="*/ 30 h 550"/>
                <a:gd name="T60" fmla="*/ 487 w 571"/>
                <a:gd name="T61" fmla="*/ 14 h 550"/>
                <a:gd name="T62" fmla="*/ 503 w 571"/>
                <a:gd name="T63" fmla="*/ 4 h 550"/>
                <a:gd name="T64" fmla="*/ 522 w 571"/>
                <a:gd name="T65" fmla="*/ 0 h 550"/>
                <a:gd name="T66" fmla="*/ 541 w 571"/>
                <a:gd name="T67" fmla="*/ 4 h 550"/>
                <a:gd name="T68" fmla="*/ 557 w 571"/>
                <a:gd name="T69" fmla="*/ 14 h 550"/>
                <a:gd name="T70" fmla="*/ 567 w 571"/>
                <a:gd name="T71" fmla="*/ 30 h 550"/>
                <a:gd name="T72" fmla="*/ 571 w 571"/>
                <a:gd name="T73" fmla="*/ 49 h 550"/>
                <a:gd name="T74" fmla="*/ 571 w 571"/>
                <a:gd name="T75" fmla="*/ 306 h 550"/>
                <a:gd name="T76" fmla="*/ 567 w 571"/>
                <a:gd name="T77" fmla="*/ 358 h 550"/>
                <a:gd name="T78" fmla="*/ 557 w 571"/>
                <a:gd name="T79" fmla="*/ 402 h 550"/>
                <a:gd name="T80" fmla="*/ 540 w 571"/>
                <a:gd name="T81" fmla="*/ 442 h 550"/>
                <a:gd name="T82" fmla="*/ 513 w 571"/>
                <a:gd name="T83" fmla="*/ 475 h 550"/>
                <a:gd name="T84" fmla="*/ 482 w 571"/>
                <a:gd name="T85" fmla="*/ 501 h 550"/>
                <a:gd name="T86" fmla="*/ 444 w 571"/>
                <a:gd name="T87" fmla="*/ 522 h 550"/>
                <a:gd name="T88" fmla="*/ 398 w 571"/>
                <a:gd name="T89" fmla="*/ 538 h 550"/>
                <a:gd name="T90" fmla="*/ 346 w 571"/>
                <a:gd name="T91" fmla="*/ 547 h 550"/>
                <a:gd name="T92" fmla="*/ 286 w 571"/>
                <a:gd name="T93" fmla="*/ 550 h 550"/>
                <a:gd name="T94" fmla="*/ 225 w 571"/>
                <a:gd name="T95" fmla="*/ 547 h 550"/>
                <a:gd name="T96" fmla="*/ 173 w 571"/>
                <a:gd name="T97" fmla="*/ 538 h 550"/>
                <a:gd name="T98" fmla="*/ 128 w 571"/>
                <a:gd name="T99" fmla="*/ 522 h 550"/>
                <a:gd name="T100" fmla="*/ 89 w 571"/>
                <a:gd name="T101" fmla="*/ 501 h 550"/>
                <a:gd name="T102" fmla="*/ 58 w 571"/>
                <a:gd name="T103" fmla="*/ 475 h 550"/>
                <a:gd name="T104" fmla="*/ 32 w 571"/>
                <a:gd name="T105" fmla="*/ 442 h 550"/>
                <a:gd name="T106" fmla="*/ 14 w 571"/>
                <a:gd name="T107" fmla="*/ 402 h 550"/>
                <a:gd name="T108" fmla="*/ 4 w 571"/>
                <a:gd name="T109" fmla="*/ 358 h 550"/>
                <a:gd name="T110" fmla="*/ 0 w 571"/>
                <a:gd name="T111" fmla="*/ 306 h 550"/>
                <a:gd name="T112" fmla="*/ 0 w 571"/>
                <a:gd name="T113" fmla="*/ 49 h 550"/>
                <a:gd name="T114" fmla="*/ 4 w 571"/>
                <a:gd name="T115" fmla="*/ 30 h 550"/>
                <a:gd name="T116" fmla="*/ 14 w 571"/>
                <a:gd name="T117" fmla="*/ 14 h 550"/>
                <a:gd name="T118" fmla="*/ 30 w 571"/>
                <a:gd name="T119" fmla="*/ 4 h 550"/>
                <a:gd name="T120" fmla="*/ 49 w 571"/>
                <a:gd name="T12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50">
                  <a:moveTo>
                    <a:pt x="49" y="0"/>
                  </a:moveTo>
                  <a:lnTo>
                    <a:pt x="68" y="4"/>
                  </a:lnTo>
                  <a:lnTo>
                    <a:pt x="84" y="14"/>
                  </a:lnTo>
                  <a:lnTo>
                    <a:pt x="94" y="30"/>
                  </a:lnTo>
                  <a:lnTo>
                    <a:pt x="98" y="49"/>
                  </a:lnTo>
                  <a:lnTo>
                    <a:pt x="98" y="299"/>
                  </a:lnTo>
                  <a:lnTo>
                    <a:pt x="98" y="320"/>
                  </a:lnTo>
                  <a:lnTo>
                    <a:pt x="101" y="342"/>
                  </a:lnTo>
                  <a:lnTo>
                    <a:pt x="105" y="363"/>
                  </a:lnTo>
                  <a:lnTo>
                    <a:pt x="112" y="384"/>
                  </a:lnTo>
                  <a:lnTo>
                    <a:pt x="122" y="403"/>
                  </a:lnTo>
                  <a:lnTo>
                    <a:pt x="136" y="421"/>
                  </a:lnTo>
                  <a:lnTo>
                    <a:pt x="156" y="437"/>
                  </a:lnTo>
                  <a:lnTo>
                    <a:pt x="180" y="449"/>
                  </a:lnTo>
                  <a:lnTo>
                    <a:pt x="208" y="459"/>
                  </a:lnTo>
                  <a:lnTo>
                    <a:pt x="245" y="464"/>
                  </a:lnTo>
                  <a:lnTo>
                    <a:pt x="286" y="466"/>
                  </a:lnTo>
                  <a:lnTo>
                    <a:pt x="328" y="464"/>
                  </a:lnTo>
                  <a:lnTo>
                    <a:pt x="363" y="459"/>
                  </a:lnTo>
                  <a:lnTo>
                    <a:pt x="391" y="449"/>
                  </a:lnTo>
                  <a:lnTo>
                    <a:pt x="416" y="437"/>
                  </a:lnTo>
                  <a:lnTo>
                    <a:pt x="435" y="421"/>
                  </a:lnTo>
                  <a:lnTo>
                    <a:pt x="449" y="403"/>
                  </a:lnTo>
                  <a:lnTo>
                    <a:pt x="459" y="384"/>
                  </a:lnTo>
                  <a:lnTo>
                    <a:pt x="466" y="363"/>
                  </a:lnTo>
                  <a:lnTo>
                    <a:pt x="470" y="342"/>
                  </a:lnTo>
                  <a:lnTo>
                    <a:pt x="473" y="320"/>
                  </a:lnTo>
                  <a:lnTo>
                    <a:pt x="473" y="299"/>
                  </a:lnTo>
                  <a:lnTo>
                    <a:pt x="473" y="49"/>
                  </a:lnTo>
                  <a:lnTo>
                    <a:pt x="477" y="30"/>
                  </a:lnTo>
                  <a:lnTo>
                    <a:pt x="487" y="14"/>
                  </a:lnTo>
                  <a:lnTo>
                    <a:pt x="503" y="4"/>
                  </a:lnTo>
                  <a:lnTo>
                    <a:pt x="522" y="0"/>
                  </a:lnTo>
                  <a:lnTo>
                    <a:pt x="541" y="4"/>
                  </a:lnTo>
                  <a:lnTo>
                    <a:pt x="557" y="14"/>
                  </a:lnTo>
                  <a:lnTo>
                    <a:pt x="567" y="30"/>
                  </a:lnTo>
                  <a:lnTo>
                    <a:pt x="571" y="49"/>
                  </a:lnTo>
                  <a:lnTo>
                    <a:pt x="571" y="306"/>
                  </a:lnTo>
                  <a:lnTo>
                    <a:pt x="567" y="358"/>
                  </a:lnTo>
                  <a:lnTo>
                    <a:pt x="557" y="402"/>
                  </a:lnTo>
                  <a:lnTo>
                    <a:pt x="540" y="442"/>
                  </a:lnTo>
                  <a:lnTo>
                    <a:pt x="513" y="475"/>
                  </a:lnTo>
                  <a:lnTo>
                    <a:pt x="482" y="501"/>
                  </a:lnTo>
                  <a:lnTo>
                    <a:pt x="444" y="522"/>
                  </a:lnTo>
                  <a:lnTo>
                    <a:pt x="398" y="538"/>
                  </a:lnTo>
                  <a:lnTo>
                    <a:pt x="346" y="547"/>
                  </a:lnTo>
                  <a:lnTo>
                    <a:pt x="286" y="550"/>
                  </a:lnTo>
                  <a:lnTo>
                    <a:pt x="225" y="547"/>
                  </a:lnTo>
                  <a:lnTo>
                    <a:pt x="173" y="538"/>
                  </a:lnTo>
                  <a:lnTo>
                    <a:pt x="128" y="522"/>
                  </a:lnTo>
                  <a:lnTo>
                    <a:pt x="89" y="501"/>
                  </a:lnTo>
                  <a:lnTo>
                    <a:pt x="58" y="475"/>
                  </a:lnTo>
                  <a:lnTo>
                    <a:pt x="32" y="442"/>
                  </a:lnTo>
                  <a:lnTo>
                    <a:pt x="14" y="402"/>
                  </a:lnTo>
                  <a:lnTo>
                    <a:pt x="4" y="358"/>
                  </a:lnTo>
                  <a:lnTo>
                    <a:pt x="0" y="306"/>
                  </a:lnTo>
                  <a:lnTo>
                    <a:pt x="0" y="49"/>
                  </a:lnTo>
                  <a:lnTo>
                    <a:pt x="4" y="30"/>
                  </a:lnTo>
                  <a:lnTo>
                    <a:pt x="14" y="14"/>
                  </a:lnTo>
                  <a:lnTo>
                    <a:pt x="30" y="4"/>
                  </a:lnTo>
                  <a:lnTo>
                    <a:pt x="4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4" name="Freeform 12"/>
            <p:cNvSpPr>
              <a:spLocks noEditPoints="1"/>
            </p:cNvSpPr>
            <p:nvPr userDrawn="1"/>
          </p:nvSpPr>
          <p:spPr bwMode="auto">
            <a:xfrm>
              <a:off x="8321678" y="705011"/>
              <a:ext cx="148448" cy="144669"/>
            </a:xfrm>
            <a:custGeom>
              <a:avLst/>
              <a:gdLst>
                <a:gd name="T0" fmla="*/ 96 w 550"/>
                <a:gd name="T1" fmla="*/ 79 h 536"/>
                <a:gd name="T2" fmla="*/ 96 w 550"/>
                <a:gd name="T3" fmla="*/ 241 h 536"/>
                <a:gd name="T4" fmla="*/ 307 w 550"/>
                <a:gd name="T5" fmla="*/ 241 h 536"/>
                <a:gd name="T6" fmla="*/ 342 w 550"/>
                <a:gd name="T7" fmla="*/ 241 h 536"/>
                <a:gd name="T8" fmla="*/ 372 w 550"/>
                <a:gd name="T9" fmla="*/ 238 h 536"/>
                <a:gd name="T10" fmla="*/ 398 w 550"/>
                <a:gd name="T11" fmla="*/ 231 h 536"/>
                <a:gd name="T12" fmla="*/ 417 w 550"/>
                <a:gd name="T13" fmla="*/ 222 h 536"/>
                <a:gd name="T14" fmla="*/ 431 w 550"/>
                <a:gd name="T15" fmla="*/ 206 h 536"/>
                <a:gd name="T16" fmla="*/ 440 w 550"/>
                <a:gd name="T17" fmla="*/ 187 h 536"/>
                <a:gd name="T18" fmla="*/ 443 w 550"/>
                <a:gd name="T19" fmla="*/ 161 h 536"/>
                <a:gd name="T20" fmla="*/ 440 w 550"/>
                <a:gd name="T21" fmla="*/ 135 h 536"/>
                <a:gd name="T22" fmla="*/ 431 w 550"/>
                <a:gd name="T23" fmla="*/ 114 h 536"/>
                <a:gd name="T24" fmla="*/ 417 w 550"/>
                <a:gd name="T25" fmla="*/ 100 h 536"/>
                <a:gd name="T26" fmla="*/ 398 w 550"/>
                <a:gd name="T27" fmla="*/ 89 h 536"/>
                <a:gd name="T28" fmla="*/ 372 w 550"/>
                <a:gd name="T29" fmla="*/ 84 h 536"/>
                <a:gd name="T30" fmla="*/ 342 w 550"/>
                <a:gd name="T31" fmla="*/ 80 h 536"/>
                <a:gd name="T32" fmla="*/ 307 w 550"/>
                <a:gd name="T33" fmla="*/ 79 h 536"/>
                <a:gd name="T34" fmla="*/ 96 w 550"/>
                <a:gd name="T35" fmla="*/ 79 h 536"/>
                <a:gd name="T36" fmla="*/ 0 w 550"/>
                <a:gd name="T37" fmla="*/ 0 h 536"/>
                <a:gd name="T38" fmla="*/ 323 w 550"/>
                <a:gd name="T39" fmla="*/ 0 h 536"/>
                <a:gd name="T40" fmla="*/ 377 w 550"/>
                <a:gd name="T41" fmla="*/ 2 h 536"/>
                <a:gd name="T42" fmla="*/ 422 w 550"/>
                <a:gd name="T43" fmla="*/ 9 h 536"/>
                <a:gd name="T44" fmla="*/ 459 w 550"/>
                <a:gd name="T45" fmla="*/ 19 h 536"/>
                <a:gd name="T46" fmla="*/ 489 w 550"/>
                <a:gd name="T47" fmla="*/ 37 h 536"/>
                <a:gd name="T48" fmla="*/ 511 w 550"/>
                <a:gd name="T49" fmla="*/ 58 h 536"/>
                <a:gd name="T50" fmla="*/ 527 w 550"/>
                <a:gd name="T51" fmla="*/ 86 h 536"/>
                <a:gd name="T52" fmla="*/ 537 w 550"/>
                <a:gd name="T53" fmla="*/ 119 h 536"/>
                <a:gd name="T54" fmla="*/ 539 w 550"/>
                <a:gd name="T55" fmla="*/ 157 h 536"/>
                <a:gd name="T56" fmla="*/ 537 w 550"/>
                <a:gd name="T57" fmla="*/ 194 h 536"/>
                <a:gd name="T58" fmla="*/ 527 w 550"/>
                <a:gd name="T59" fmla="*/ 225 h 536"/>
                <a:gd name="T60" fmla="*/ 513 w 550"/>
                <a:gd name="T61" fmla="*/ 252 h 536"/>
                <a:gd name="T62" fmla="*/ 494 w 550"/>
                <a:gd name="T63" fmla="*/ 272 h 536"/>
                <a:gd name="T64" fmla="*/ 471 w 550"/>
                <a:gd name="T65" fmla="*/ 290 h 536"/>
                <a:gd name="T66" fmla="*/ 447 w 550"/>
                <a:gd name="T67" fmla="*/ 302 h 536"/>
                <a:gd name="T68" fmla="*/ 419 w 550"/>
                <a:gd name="T69" fmla="*/ 311 h 536"/>
                <a:gd name="T70" fmla="*/ 393 w 550"/>
                <a:gd name="T71" fmla="*/ 314 h 536"/>
                <a:gd name="T72" fmla="*/ 384 w 550"/>
                <a:gd name="T73" fmla="*/ 314 h 536"/>
                <a:gd name="T74" fmla="*/ 550 w 550"/>
                <a:gd name="T75" fmla="*/ 536 h 536"/>
                <a:gd name="T76" fmla="*/ 431 w 550"/>
                <a:gd name="T77" fmla="*/ 536 h 536"/>
                <a:gd name="T78" fmla="*/ 274 w 550"/>
                <a:gd name="T79" fmla="*/ 323 h 536"/>
                <a:gd name="T80" fmla="*/ 272 w 550"/>
                <a:gd name="T81" fmla="*/ 321 h 536"/>
                <a:gd name="T82" fmla="*/ 96 w 550"/>
                <a:gd name="T83" fmla="*/ 321 h 536"/>
                <a:gd name="T84" fmla="*/ 96 w 550"/>
                <a:gd name="T85" fmla="*/ 536 h 536"/>
                <a:gd name="T86" fmla="*/ 0 w 550"/>
                <a:gd name="T87" fmla="*/ 536 h 536"/>
                <a:gd name="T88" fmla="*/ 0 w 550"/>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36">
                  <a:moveTo>
                    <a:pt x="96" y="79"/>
                  </a:moveTo>
                  <a:lnTo>
                    <a:pt x="96" y="241"/>
                  </a:lnTo>
                  <a:lnTo>
                    <a:pt x="307" y="241"/>
                  </a:lnTo>
                  <a:lnTo>
                    <a:pt x="342" y="241"/>
                  </a:lnTo>
                  <a:lnTo>
                    <a:pt x="372" y="238"/>
                  </a:lnTo>
                  <a:lnTo>
                    <a:pt x="398" y="231"/>
                  </a:lnTo>
                  <a:lnTo>
                    <a:pt x="417" y="222"/>
                  </a:lnTo>
                  <a:lnTo>
                    <a:pt x="431" y="206"/>
                  </a:lnTo>
                  <a:lnTo>
                    <a:pt x="440" y="187"/>
                  </a:lnTo>
                  <a:lnTo>
                    <a:pt x="443" y="161"/>
                  </a:lnTo>
                  <a:lnTo>
                    <a:pt x="440" y="135"/>
                  </a:lnTo>
                  <a:lnTo>
                    <a:pt x="431" y="114"/>
                  </a:lnTo>
                  <a:lnTo>
                    <a:pt x="417" y="100"/>
                  </a:lnTo>
                  <a:lnTo>
                    <a:pt x="398" y="89"/>
                  </a:lnTo>
                  <a:lnTo>
                    <a:pt x="372" y="84"/>
                  </a:lnTo>
                  <a:lnTo>
                    <a:pt x="342" y="80"/>
                  </a:lnTo>
                  <a:lnTo>
                    <a:pt x="307" y="79"/>
                  </a:lnTo>
                  <a:lnTo>
                    <a:pt x="96" y="79"/>
                  </a:lnTo>
                  <a:close/>
                  <a:moveTo>
                    <a:pt x="0" y="0"/>
                  </a:moveTo>
                  <a:lnTo>
                    <a:pt x="323" y="0"/>
                  </a:lnTo>
                  <a:lnTo>
                    <a:pt x="377" y="2"/>
                  </a:lnTo>
                  <a:lnTo>
                    <a:pt x="422" y="9"/>
                  </a:lnTo>
                  <a:lnTo>
                    <a:pt x="459" y="19"/>
                  </a:lnTo>
                  <a:lnTo>
                    <a:pt x="489" y="37"/>
                  </a:lnTo>
                  <a:lnTo>
                    <a:pt x="511" y="58"/>
                  </a:lnTo>
                  <a:lnTo>
                    <a:pt x="527" y="86"/>
                  </a:lnTo>
                  <a:lnTo>
                    <a:pt x="537" y="119"/>
                  </a:lnTo>
                  <a:lnTo>
                    <a:pt x="539" y="157"/>
                  </a:lnTo>
                  <a:lnTo>
                    <a:pt x="537" y="194"/>
                  </a:lnTo>
                  <a:lnTo>
                    <a:pt x="527" y="225"/>
                  </a:lnTo>
                  <a:lnTo>
                    <a:pt x="513" y="252"/>
                  </a:lnTo>
                  <a:lnTo>
                    <a:pt x="494" y="272"/>
                  </a:lnTo>
                  <a:lnTo>
                    <a:pt x="471" y="290"/>
                  </a:lnTo>
                  <a:lnTo>
                    <a:pt x="447" y="302"/>
                  </a:lnTo>
                  <a:lnTo>
                    <a:pt x="419" y="311"/>
                  </a:lnTo>
                  <a:lnTo>
                    <a:pt x="393" y="314"/>
                  </a:lnTo>
                  <a:lnTo>
                    <a:pt x="384" y="314"/>
                  </a:lnTo>
                  <a:lnTo>
                    <a:pt x="550" y="536"/>
                  </a:lnTo>
                  <a:lnTo>
                    <a:pt x="431" y="536"/>
                  </a:lnTo>
                  <a:lnTo>
                    <a:pt x="274" y="323"/>
                  </a:lnTo>
                  <a:lnTo>
                    <a:pt x="272" y="321"/>
                  </a:lnTo>
                  <a:lnTo>
                    <a:pt x="96" y="321"/>
                  </a:lnTo>
                  <a:lnTo>
                    <a:pt x="96"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5" name="Freeform 13"/>
            <p:cNvSpPr>
              <a:spLocks/>
            </p:cNvSpPr>
            <p:nvPr userDrawn="1"/>
          </p:nvSpPr>
          <p:spPr bwMode="auto">
            <a:xfrm>
              <a:off x="8507374" y="705011"/>
              <a:ext cx="131714" cy="144669"/>
            </a:xfrm>
            <a:custGeom>
              <a:avLst/>
              <a:gdLst>
                <a:gd name="T0" fmla="*/ 0 w 488"/>
                <a:gd name="T1" fmla="*/ 0 h 536"/>
                <a:gd name="T2" fmla="*/ 438 w 488"/>
                <a:gd name="T3" fmla="*/ 0 h 536"/>
                <a:gd name="T4" fmla="*/ 453 w 488"/>
                <a:gd name="T5" fmla="*/ 2 h 536"/>
                <a:gd name="T6" fmla="*/ 467 w 488"/>
                <a:gd name="T7" fmla="*/ 12 h 536"/>
                <a:gd name="T8" fmla="*/ 476 w 488"/>
                <a:gd name="T9" fmla="*/ 25 h 536"/>
                <a:gd name="T10" fmla="*/ 480 w 488"/>
                <a:gd name="T11" fmla="*/ 40 h 536"/>
                <a:gd name="T12" fmla="*/ 476 w 488"/>
                <a:gd name="T13" fmla="*/ 56 h 536"/>
                <a:gd name="T14" fmla="*/ 467 w 488"/>
                <a:gd name="T15" fmla="*/ 70 h 536"/>
                <a:gd name="T16" fmla="*/ 453 w 488"/>
                <a:gd name="T17" fmla="*/ 79 h 536"/>
                <a:gd name="T18" fmla="*/ 438 w 488"/>
                <a:gd name="T19" fmla="*/ 82 h 536"/>
                <a:gd name="T20" fmla="*/ 97 w 488"/>
                <a:gd name="T21" fmla="*/ 82 h 536"/>
                <a:gd name="T22" fmla="*/ 97 w 488"/>
                <a:gd name="T23" fmla="*/ 218 h 536"/>
                <a:gd name="T24" fmla="*/ 333 w 488"/>
                <a:gd name="T25" fmla="*/ 218 h 536"/>
                <a:gd name="T26" fmla="*/ 349 w 488"/>
                <a:gd name="T27" fmla="*/ 222 h 536"/>
                <a:gd name="T28" fmla="*/ 361 w 488"/>
                <a:gd name="T29" fmla="*/ 231 h 536"/>
                <a:gd name="T30" fmla="*/ 370 w 488"/>
                <a:gd name="T31" fmla="*/ 243 h 536"/>
                <a:gd name="T32" fmla="*/ 373 w 488"/>
                <a:gd name="T33" fmla="*/ 259 h 536"/>
                <a:gd name="T34" fmla="*/ 370 w 488"/>
                <a:gd name="T35" fmla="*/ 276 h 536"/>
                <a:gd name="T36" fmla="*/ 361 w 488"/>
                <a:gd name="T37" fmla="*/ 288 h 536"/>
                <a:gd name="T38" fmla="*/ 349 w 488"/>
                <a:gd name="T39" fmla="*/ 297 h 536"/>
                <a:gd name="T40" fmla="*/ 333 w 488"/>
                <a:gd name="T41" fmla="*/ 300 h 536"/>
                <a:gd name="T42" fmla="*/ 97 w 488"/>
                <a:gd name="T43" fmla="*/ 300 h 536"/>
                <a:gd name="T44" fmla="*/ 97 w 488"/>
                <a:gd name="T45" fmla="*/ 454 h 536"/>
                <a:gd name="T46" fmla="*/ 446 w 488"/>
                <a:gd name="T47" fmla="*/ 454 h 536"/>
                <a:gd name="T48" fmla="*/ 464 w 488"/>
                <a:gd name="T49" fmla="*/ 457 h 536"/>
                <a:gd name="T50" fmla="*/ 476 w 488"/>
                <a:gd name="T51" fmla="*/ 466 h 536"/>
                <a:gd name="T52" fmla="*/ 485 w 488"/>
                <a:gd name="T53" fmla="*/ 478 h 536"/>
                <a:gd name="T54" fmla="*/ 488 w 488"/>
                <a:gd name="T55" fmla="*/ 494 h 536"/>
                <a:gd name="T56" fmla="*/ 485 w 488"/>
                <a:gd name="T57" fmla="*/ 512 h 536"/>
                <a:gd name="T58" fmla="*/ 476 w 488"/>
                <a:gd name="T59" fmla="*/ 524 h 536"/>
                <a:gd name="T60" fmla="*/ 464 w 488"/>
                <a:gd name="T61" fmla="*/ 533 h 536"/>
                <a:gd name="T62" fmla="*/ 446 w 488"/>
                <a:gd name="T63" fmla="*/ 536 h 536"/>
                <a:gd name="T64" fmla="*/ 0 w 488"/>
                <a:gd name="T65" fmla="*/ 536 h 536"/>
                <a:gd name="T66" fmla="*/ 0 w 488"/>
                <a:gd name="T6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8" h="536">
                  <a:moveTo>
                    <a:pt x="0" y="0"/>
                  </a:moveTo>
                  <a:lnTo>
                    <a:pt x="438" y="0"/>
                  </a:lnTo>
                  <a:lnTo>
                    <a:pt x="453" y="2"/>
                  </a:lnTo>
                  <a:lnTo>
                    <a:pt x="467" y="12"/>
                  </a:lnTo>
                  <a:lnTo>
                    <a:pt x="476" y="25"/>
                  </a:lnTo>
                  <a:lnTo>
                    <a:pt x="480" y="40"/>
                  </a:lnTo>
                  <a:lnTo>
                    <a:pt x="476" y="56"/>
                  </a:lnTo>
                  <a:lnTo>
                    <a:pt x="467" y="70"/>
                  </a:lnTo>
                  <a:lnTo>
                    <a:pt x="453" y="79"/>
                  </a:lnTo>
                  <a:lnTo>
                    <a:pt x="438" y="82"/>
                  </a:lnTo>
                  <a:lnTo>
                    <a:pt x="97" y="82"/>
                  </a:lnTo>
                  <a:lnTo>
                    <a:pt x="97" y="218"/>
                  </a:lnTo>
                  <a:lnTo>
                    <a:pt x="333" y="218"/>
                  </a:lnTo>
                  <a:lnTo>
                    <a:pt x="349" y="222"/>
                  </a:lnTo>
                  <a:lnTo>
                    <a:pt x="361" y="231"/>
                  </a:lnTo>
                  <a:lnTo>
                    <a:pt x="370" y="243"/>
                  </a:lnTo>
                  <a:lnTo>
                    <a:pt x="373" y="259"/>
                  </a:lnTo>
                  <a:lnTo>
                    <a:pt x="370" y="276"/>
                  </a:lnTo>
                  <a:lnTo>
                    <a:pt x="361" y="288"/>
                  </a:lnTo>
                  <a:lnTo>
                    <a:pt x="349" y="297"/>
                  </a:lnTo>
                  <a:lnTo>
                    <a:pt x="333" y="300"/>
                  </a:lnTo>
                  <a:lnTo>
                    <a:pt x="97" y="300"/>
                  </a:lnTo>
                  <a:lnTo>
                    <a:pt x="97" y="454"/>
                  </a:lnTo>
                  <a:lnTo>
                    <a:pt x="446" y="454"/>
                  </a:lnTo>
                  <a:lnTo>
                    <a:pt x="464" y="457"/>
                  </a:lnTo>
                  <a:lnTo>
                    <a:pt x="476" y="466"/>
                  </a:lnTo>
                  <a:lnTo>
                    <a:pt x="485" y="478"/>
                  </a:lnTo>
                  <a:lnTo>
                    <a:pt x="488" y="494"/>
                  </a:lnTo>
                  <a:lnTo>
                    <a:pt x="485" y="512"/>
                  </a:lnTo>
                  <a:lnTo>
                    <a:pt x="476" y="524"/>
                  </a:lnTo>
                  <a:lnTo>
                    <a:pt x="464" y="533"/>
                  </a:lnTo>
                  <a:lnTo>
                    <a:pt x="446" y="536"/>
                  </a:lnTo>
                  <a:lnTo>
                    <a:pt x="0" y="536"/>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6" name="Freeform 14"/>
            <p:cNvSpPr>
              <a:spLocks/>
            </p:cNvSpPr>
            <p:nvPr userDrawn="1"/>
          </p:nvSpPr>
          <p:spPr bwMode="auto">
            <a:xfrm>
              <a:off x="7785916" y="618911"/>
              <a:ext cx="25911" cy="24831"/>
            </a:xfrm>
            <a:custGeom>
              <a:avLst/>
              <a:gdLst>
                <a:gd name="T0" fmla="*/ 51 w 96"/>
                <a:gd name="T1" fmla="*/ 0 h 92"/>
                <a:gd name="T2" fmla="*/ 53 w 96"/>
                <a:gd name="T3" fmla="*/ 0 h 92"/>
                <a:gd name="T4" fmla="*/ 70 w 96"/>
                <a:gd name="T5" fmla="*/ 5 h 92"/>
                <a:gd name="T6" fmla="*/ 84 w 96"/>
                <a:gd name="T7" fmla="*/ 15 h 92"/>
                <a:gd name="T8" fmla="*/ 93 w 96"/>
                <a:gd name="T9" fmla="*/ 31 h 92"/>
                <a:gd name="T10" fmla="*/ 96 w 96"/>
                <a:gd name="T11" fmla="*/ 49 h 92"/>
                <a:gd name="T12" fmla="*/ 91 w 96"/>
                <a:gd name="T13" fmla="*/ 66 h 92"/>
                <a:gd name="T14" fmla="*/ 81 w 96"/>
                <a:gd name="T15" fmla="*/ 80 h 92"/>
                <a:gd name="T16" fmla="*/ 65 w 96"/>
                <a:gd name="T17" fmla="*/ 91 h 92"/>
                <a:gd name="T18" fmla="*/ 47 w 96"/>
                <a:gd name="T19" fmla="*/ 92 h 92"/>
                <a:gd name="T20" fmla="*/ 44 w 96"/>
                <a:gd name="T21" fmla="*/ 92 h 92"/>
                <a:gd name="T22" fmla="*/ 26 w 96"/>
                <a:gd name="T23" fmla="*/ 87 h 92"/>
                <a:gd name="T24" fmla="*/ 12 w 96"/>
                <a:gd name="T25" fmla="*/ 77 h 92"/>
                <a:gd name="T26" fmla="*/ 4 w 96"/>
                <a:gd name="T27" fmla="*/ 61 h 92"/>
                <a:gd name="T28" fmla="*/ 0 w 96"/>
                <a:gd name="T29" fmla="*/ 43 h 92"/>
                <a:gd name="T30" fmla="*/ 5 w 96"/>
                <a:gd name="T31" fmla="*/ 26 h 92"/>
                <a:gd name="T32" fmla="*/ 16 w 96"/>
                <a:gd name="T33" fmla="*/ 12 h 92"/>
                <a:gd name="T34" fmla="*/ 32 w 96"/>
                <a:gd name="T35" fmla="*/ 2 h 92"/>
                <a:gd name="T36" fmla="*/ 51 w 96"/>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2">
                  <a:moveTo>
                    <a:pt x="51" y="0"/>
                  </a:moveTo>
                  <a:lnTo>
                    <a:pt x="53" y="0"/>
                  </a:lnTo>
                  <a:lnTo>
                    <a:pt x="70" y="5"/>
                  </a:lnTo>
                  <a:lnTo>
                    <a:pt x="84" y="15"/>
                  </a:lnTo>
                  <a:lnTo>
                    <a:pt x="93" y="31"/>
                  </a:lnTo>
                  <a:lnTo>
                    <a:pt x="96" y="49"/>
                  </a:lnTo>
                  <a:lnTo>
                    <a:pt x="91" y="66"/>
                  </a:lnTo>
                  <a:lnTo>
                    <a:pt x="81" y="80"/>
                  </a:lnTo>
                  <a:lnTo>
                    <a:pt x="65" y="91"/>
                  </a:lnTo>
                  <a:lnTo>
                    <a:pt x="47" y="92"/>
                  </a:lnTo>
                  <a:lnTo>
                    <a:pt x="44" y="92"/>
                  </a:lnTo>
                  <a:lnTo>
                    <a:pt x="26" y="87"/>
                  </a:lnTo>
                  <a:lnTo>
                    <a:pt x="12" y="77"/>
                  </a:lnTo>
                  <a:lnTo>
                    <a:pt x="4" y="61"/>
                  </a:lnTo>
                  <a:lnTo>
                    <a:pt x="0" y="43"/>
                  </a:lnTo>
                  <a:lnTo>
                    <a:pt x="5" y="26"/>
                  </a:lnTo>
                  <a:lnTo>
                    <a:pt x="16" y="12"/>
                  </a:lnTo>
                  <a:lnTo>
                    <a:pt x="32" y="2"/>
                  </a:lnTo>
                  <a:lnTo>
                    <a:pt x="51"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7" name="Freeform 15"/>
            <p:cNvSpPr>
              <a:spLocks/>
            </p:cNvSpPr>
            <p:nvPr userDrawn="1"/>
          </p:nvSpPr>
          <p:spPr bwMode="auto">
            <a:xfrm>
              <a:off x="7868507" y="539289"/>
              <a:ext cx="37247" cy="44804"/>
            </a:xfrm>
            <a:custGeom>
              <a:avLst/>
              <a:gdLst>
                <a:gd name="T0" fmla="*/ 40 w 138"/>
                <a:gd name="T1" fmla="*/ 0 h 166"/>
                <a:gd name="T2" fmla="*/ 57 w 138"/>
                <a:gd name="T3" fmla="*/ 2 h 166"/>
                <a:gd name="T4" fmla="*/ 73 w 138"/>
                <a:gd name="T5" fmla="*/ 9 h 166"/>
                <a:gd name="T6" fmla="*/ 85 w 138"/>
                <a:gd name="T7" fmla="*/ 22 h 166"/>
                <a:gd name="T8" fmla="*/ 132 w 138"/>
                <a:gd name="T9" fmla="*/ 96 h 166"/>
                <a:gd name="T10" fmla="*/ 138 w 138"/>
                <a:gd name="T11" fmla="*/ 113 h 166"/>
                <a:gd name="T12" fmla="*/ 138 w 138"/>
                <a:gd name="T13" fmla="*/ 131 h 166"/>
                <a:gd name="T14" fmla="*/ 129 w 138"/>
                <a:gd name="T15" fmla="*/ 146 h 166"/>
                <a:gd name="T16" fmla="*/ 115 w 138"/>
                <a:gd name="T17" fmla="*/ 159 h 166"/>
                <a:gd name="T18" fmla="*/ 99 w 138"/>
                <a:gd name="T19" fmla="*/ 166 h 166"/>
                <a:gd name="T20" fmla="*/ 80 w 138"/>
                <a:gd name="T21" fmla="*/ 164 h 166"/>
                <a:gd name="T22" fmla="*/ 64 w 138"/>
                <a:gd name="T23" fmla="*/ 157 h 166"/>
                <a:gd name="T24" fmla="*/ 52 w 138"/>
                <a:gd name="T25" fmla="*/ 143 h 166"/>
                <a:gd name="T26" fmla="*/ 5 w 138"/>
                <a:gd name="T27" fmla="*/ 70 h 166"/>
                <a:gd name="T28" fmla="*/ 0 w 138"/>
                <a:gd name="T29" fmla="*/ 52 h 166"/>
                <a:gd name="T30" fmla="*/ 0 w 138"/>
                <a:gd name="T31" fmla="*/ 35 h 166"/>
                <a:gd name="T32" fmla="*/ 8 w 138"/>
                <a:gd name="T33" fmla="*/ 17 h 166"/>
                <a:gd name="T34" fmla="*/ 22 w 138"/>
                <a:gd name="T35" fmla="*/ 7 h 166"/>
                <a:gd name="T36" fmla="*/ 40 w 138"/>
                <a:gd name="T3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66">
                  <a:moveTo>
                    <a:pt x="40" y="0"/>
                  </a:moveTo>
                  <a:lnTo>
                    <a:pt x="57" y="2"/>
                  </a:lnTo>
                  <a:lnTo>
                    <a:pt x="73" y="9"/>
                  </a:lnTo>
                  <a:lnTo>
                    <a:pt x="85" y="22"/>
                  </a:lnTo>
                  <a:lnTo>
                    <a:pt x="132" y="96"/>
                  </a:lnTo>
                  <a:lnTo>
                    <a:pt x="138" y="113"/>
                  </a:lnTo>
                  <a:lnTo>
                    <a:pt x="138" y="131"/>
                  </a:lnTo>
                  <a:lnTo>
                    <a:pt x="129" y="146"/>
                  </a:lnTo>
                  <a:lnTo>
                    <a:pt x="115" y="159"/>
                  </a:lnTo>
                  <a:lnTo>
                    <a:pt x="99" y="166"/>
                  </a:lnTo>
                  <a:lnTo>
                    <a:pt x="80" y="164"/>
                  </a:lnTo>
                  <a:lnTo>
                    <a:pt x="64" y="157"/>
                  </a:lnTo>
                  <a:lnTo>
                    <a:pt x="52" y="143"/>
                  </a:lnTo>
                  <a:lnTo>
                    <a:pt x="5" y="70"/>
                  </a:lnTo>
                  <a:lnTo>
                    <a:pt x="0" y="52"/>
                  </a:lnTo>
                  <a:lnTo>
                    <a:pt x="0" y="35"/>
                  </a:lnTo>
                  <a:lnTo>
                    <a:pt x="8" y="17"/>
                  </a:lnTo>
                  <a:lnTo>
                    <a:pt x="22" y="7"/>
                  </a:lnTo>
                  <a:lnTo>
                    <a:pt x="40"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8" name="Freeform 16"/>
            <p:cNvSpPr>
              <a:spLocks/>
            </p:cNvSpPr>
            <p:nvPr userDrawn="1"/>
          </p:nvSpPr>
          <p:spPr bwMode="auto">
            <a:xfrm>
              <a:off x="7965403" y="477481"/>
              <a:ext cx="37787" cy="69366"/>
            </a:xfrm>
            <a:custGeom>
              <a:avLst/>
              <a:gdLst>
                <a:gd name="T0" fmla="*/ 53 w 140"/>
                <a:gd name="T1" fmla="*/ 0 h 257"/>
                <a:gd name="T2" fmla="*/ 68 w 140"/>
                <a:gd name="T3" fmla="*/ 7 h 257"/>
                <a:gd name="T4" fmla="*/ 82 w 140"/>
                <a:gd name="T5" fmla="*/ 19 h 257"/>
                <a:gd name="T6" fmla="*/ 89 w 140"/>
                <a:gd name="T7" fmla="*/ 35 h 257"/>
                <a:gd name="T8" fmla="*/ 140 w 140"/>
                <a:gd name="T9" fmla="*/ 199 h 257"/>
                <a:gd name="T10" fmla="*/ 140 w 140"/>
                <a:gd name="T11" fmla="*/ 218 h 257"/>
                <a:gd name="T12" fmla="*/ 135 w 140"/>
                <a:gd name="T13" fmla="*/ 234 h 257"/>
                <a:gd name="T14" fmla="*/ 122 w 140"/>
                <a:gd name="T15" fmla="*/ 248 h 257"/>
                <a:gd name="T16" fmla="*/ 105 w 140"/>
                <a:gd name="T17" fmla="*/ 255 h 257"/>
                <a:gd name="T18" fmla="*/ 88 w 140"/>
                <a:gd name="T19" fmla="*/ 257 h 257"/>
                <a:gd name="T20" fmla="*/ 70 w 140"/>
                <a:gd name="T21" fmla="*/ 250 h 257"/>
                <a:gd name="T22" fmla="*/ 58 w 140"/>
                <a:gd name="T23" fmla="*/ 239 h 257"/>
                <a:gd name="T24" fmla="*/ 49 w 140"/>
                <a:gd name="T25" fmla="*/ 222 h 257"/>
                <a:gd name="T26" fmla="*/ 0 w 140"/>
                <a:gd name="T27" fmla="*/ 58 h 257"/>
                <a:gd name="T28" fmla="*/ 0 w 140"/>
                <a:gd name="T29" fmla="*/ 40 h 257"/>
                <a:gd name="T30" fmla="*/ 5 w 140"/>
                <a:gd name="T31" fmla="*/ 23 h 257"/>
                <a:gd name="T32" fmla="*/ 18 w 140"/>
                <a:gd name="T33" fmla="*/ 11 h 257"/>
                <a:gd name="T34" fmla="*/ 33 w 140"/>
                <a:gd name="T35" fmla="*/ 2 h 257"/>
                <a:gd name="T36" fmla="*/ 53 w 140"/>
                <a:gd name="T3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57">
                  <a:moveTo>
                    <a:pt x="53" y="0"/>
                  </a:moveTo>
                  <a:lnTo>
                    <a:pt x="68" y="7"/>
                  </a:lnTo>
                  <a:lnTo>
                    <a:pt x="82" y="19"/>
                  </a:lnTo>
                  <a:lnTo>
                    <a:pt x="89" y="35"/>
                  </a:lnTo>
                  <a:lnTo>
                    <a:pt x="140" y="199"/>
                  </a:lnTo>
                  <a:lnTo>
                    <a:pt x="140" y="218"/>
                  </a:lnTo>
                  <a:lnTo>
                    <a:pt x="135" y="234"/>
                  </a:lnTo>
                  <a:lnTo>
                    <a:pt x="122" y="248"/>
                  </a:lnTo>
                  <a:lnTo>
                    <a:pt x="105" y="255"/>
                  </a:lnTo>
                  <a:lnTo>
                    <a:pt x="88" y="257"/>
                  </a:lnTo>
                  <a:lnTo>
                    <a:pt x="70" y="250"/>
                  </a:lnTo>
                  <a:lnTo>
                    <a:pt x="58" y="239"/>
                  </a:lnTo>
                  <a:lnTo>
                    <a:pt x="49" y="222"/>
                  </a:lnTo>
                  <a:lnTo>
                    <a:pt x="0" y="58"/>
                  </a:lnTo>
                  <a:lnTo>
                    <a:pt x="0" y="40"/>
                  </a:lnTo>
                  <a:lnTo>
                    <a:pt x="5" y="23"/>
                  </a:lnTo>
                  <a:lnTo>
                    <a:pt x="18" y="11"/>
                  </a:lnTo>
                  <a:lnTo>
                    <a:pt x="33" y="2"/>
                  </a:lnTo>
                  <a:lnTo>
                    <a:pt x="53"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19" name="Freeform 17"/>
            <p:cNvSpPr>
              <a:spLocks/>
            </p:cNvSpPr>
            <p:nvPr userDrawn="1"/>
          </p:nvSpPr>
          <p:spPr bwMode="auto">
            <a:xfrm>
              <a:off x="8070936" y="427548"/>
              <a:ext cx="32119" cy="95546"/>
            </a:xfrm>
            <a:custGeom>
              <a:avLst/>
              <a:gdLst>
                <a:gd name="T0" fmla="*/ 44 w 119"/>
                <a:gd name="T1" fmla="*/ 0 h 354"/>
                <a:gd name="T2" fmla="*/ 63 w 119"/>
                <a:gd name="T3" fmla="*/ 4 h 354"/>
                <a:gd name="T4" fmla="*/ 77 w 119"/>
                <a:gd name="T5" fmla="*/ 12 h 354"/>
                <a:gd name="T6" fmla="*/ 87 w 119"/>
                <a:gd name="T7" fmla="*/ 26 h 354"/>
                <a:gd name="T8" fmla="*/ 93 w 119"/>
                <a:gd name="T9" fmla="*/ 44 h 354"/>
                <a:gd name="T10" fmla="*/ 119 w 119"/>
                <a:gd name="T11" fmla="*/ 306 h 354"/>
                <a:gd name="T12" fmla="*/ 115 w 119"/>
                <a:gd name="T13" fmla="*/ 323 h 354"/>
                <a:gd name="T14" fmla="*/ 107 w 119"/>
                <a:gd name="T15" fmla="*/ 339 h 354"/>
                <a:gd name="T16" fmla="*/ 93 w 119"/>
                <a:gd name="T17" fmla="*/ 349 h 354"/>
                <a:gd name="T18" fmla="*/ 75 w 119"/>
                <a:gd name="T19" fmla="*/ 354 h 354"/>
                <a:gd name="T20" fmla="*/ 58 w 119"/>
                <a:gd name="T21" fmla="*/ 351 h 354"/>
                <a:gd name="T22" fmla="*/ 42 w 119"/>
                <a:gd name="T23" fmla="*/ 342 h 354"/>
                <a:gd name="T24" fmla="*/ 32 w 119"/>
                <a:gd name="T25" fmla="*/ 328 h 354"/>
                <a:gd name="T26" fmla="*/ 26 w 119"/>
                <a:gd name="T27" fmla="*/ 311 h 354"/>
                <a:gd name="T28" fmla="*/ 0 w 119"/>
                <a:gd name="T29" fmla="*/ 49 h 354"/>
                <a:gd name="T30" fmla="*/ 4 w 119"/>
                <a:gd name="T31" fmla="*/ 32 h 354"/>
                <a:gd name="T32" fmla="*/ 12 w 119"/>
                <a:gd name="T33" fmla="*/ 16 h 354"/>
                <a:gd name="T34" fmla="*/ 26 w 119"/>
                <a:gd name="T35" fmla="*/ 5 h 354"/>
                <a:gd name="T36" fmla="*/ 44 w 119"/>
                <a:gd name="T3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354">
                  <a:moveTo>
                    <a:pt x="44" y="0"/>
                  </a:moveTo>
                  <a:lnTo>
                    <a:pt x="63" y="4"/>
                  </a:lnTo>
                  <a:lnTo>
                    <a:pt x="77" y="12"/>
                  </a:lnTo>
                  <a:lnTo>
                    <a:pt x="87" y="26"/>
                  </a:lnTo>
                  <a:lnTo>
                    <a:pt x="93" y="44"/>
                  </a:lnTo>
                  <a:lnTo>
                    <a:pt x="119" y="306"/>
                  </a:lnTo>
                  <a:lnTo>
                    <a:pt x="115" y="323"/>
                  </a:lnTo>
                  <a:lnTo>
                    <a:pt x="107" y="339"/>
                  </a:lnTo>
                  <a:lnTo>
                    <a:pt x="93" y="349"/>
                  </a:lnTo>
                  <a:lnTo>
                    <a:pt x="75" y="354"/>
                  </a:lnTo>
                  <a:lnTo>
                    <a:pt x="58" y="351"/>
                  </a:lnTo>
                  <a:lnTo>
                    <a:pt x="42" y="342"/>
                  </a:lnTo>
                  <a:lnTo>
                    <a:pt x="32" y="328"/>
                  </a:lnTo>
                  <a:lnTo>
                    <a:pt x="26" y="311"/>
                  </a:lnTo>
                  <a:lnTo>
                    <a:pt x="0" y="49"/>
                  </a:lnTo>
                  <a:lnTo>
                    <a:pt x="4" y="32"/>
                  </a:lnTo>
                  <a:lnTo>
                    <a:pt x="12" y="16"/>
                  </a:lnTo>
                  <a:lnTo>
                    <a:pt x="26" y="5"/>
                  </a:lnTo>
                  <a:lnTo>
                    <a:pt x="44"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0" name="Freeform 18"/>
            <p:cNvSpPr>
              <a:spLocks/>
            </p:cNvSpPr>
            <p:nvPr userDrawn="1"/>
          </p:nvSpPr>
          <p:spPr bwMode="auto">
            <a:xfrm>
              <a:off x="8178358" y="392731"/>
              <a:ext cx="29690" cy="119568"/>
            </a:xfrm>
            <a:custGeom>
              <a:avLst/>
              <a:gdLst>
                <a:gd name="T0" fmla="*/ 68 w 110"/>
                <a:gd name="T1" fmla="*/ 0 h 443"/>
                <a:gd name="T2" fmla="*/ 86 w 110"/>
                <a:gd name="T3" fmla="*/ 5 h 443"/>
                <a:gd name="T4" fmla="*/ 100 w 110"/>
                <a:gd name="T5" fmla="*/ 16 h 443"/>
                <a:gd name="T6" fmla="*/ 107 w 110"/>
                <a:gd name="T7" fmla="*/ 31 h 443"/>
                <a:gd name="T8" fmla="*/ 110 w 110"/>
                <a:gd name="T9" fmla="*/ 51 h 443"/>
                <a:gd name="T10" fmla="*/ 93 w 110"/>
                <a:gd name="T11" fmla="*/ 401 h 443"/>
                <a:gd name="T12" fmla="*/ 87 w 110"/>
                <a:gd name="T13" fmla="*/ 419 h 443"/>
                <a:gd name="T14" fmla="*/ 75 w 110"/>
                <a:gd name="T15" fmla="*/ 433 h 443"/>
                <a:gd name="T16" fmla="*/ 61 w 110"/>
                <a:gd name="T17" fmla="*/ 442 h 443"/>
                <a:gd name="T18" fmla="*/ 42 w 110"/>
                <a:gd name="T19" fmla="*/ 443 h 443"/>
                <a:gd name="T20" fmla="*/ 25 w 110"/>
                <a:gd name="T21" fmla="*/ 438 h 443"/>
                <a:gd name="T22" fmla="*/ 11 w 110"/>
                <a:gd name="T23" fmla="*/ 426 h 443"/>
                <a:gd name="T24" fmla="*/ 2 w 110"/>
                <a:gd name="T25" fmla="*/ 412 h 443"/>
                <a:gd name="T26" fmla="*/ 0 w 110"/>
                <a:gd name="T27" fmla="*/ 393 h 443"/>
                <a:gd name="T28" fmla="*/ 18 w 110"/>
                <a:gd name="T29" fmla="*/ 42 h 443"/>
                <a:gd name="T30" fmla="*/ 23 w 110"/>
                <a:gd name="T31" fmla="*/ 24 h 443"/>
                <a:gd name="T32" fmla="*/ 33 w 110"/>
                <a:gd name="T33" fmla="*/ 10 h 443"/>
                <a:gd name="T34" fmla="*/ 49 w 110"/>
                <a:gd name="T35" fmla="*/ 2 h 443"/>
                <a:gd name="T36" fmla="*/ 68 w 110"/>
                <a:gd name="T37"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443">
                  <a:moveTo>
                    <a:pt x="68" y="0"/>
                  </a:moveTo>
                  <a:lnTo>
                    <a:pt x="86" y="5"/>
                  </a:lnTo>
                  <a:lnTo>
                    <a:pt x="100" y="16"/>
                  </a:lnTo>
                  <a:lnTo>
                    <a:pt x="107" y="31"/>
                  </a:lnTo>
                  <a:lnTo>
                    <a:pt x="110" y="51"/>
                  </a:lnTo>
                  <a:lnTo>
                    <a:pt x="93" y="401"/>
                  </a:lnTo>
                  <a:lnTo>
                    <a:pt x="87" y="419"/>
                  </a:lnTo>
                  <a:lnTo>
                    <a:pt x="75" y="433"/>
                  </a:lnTo>
                  <a:lnTo>
                    <a:pt x="61" y="442"/>
                  </a:lnTo>
                  <a:lnTo>
                    <a:pt x="42" y="443"/>
                  </a:lnTo>
                  <a:lnTo>
                    <a:pt x="25" y="438"/>
                  </a:lnTo>
                  <a:lnTo>
                    <a:pt x="11" y="426"/>
                  </a:lnTo>
                  <a:lnTo>
                    <a:pt x="2" y="412"/>
                  </a:lnTo>
                  <a:lnTo>
                    <a:pt x="0" y="393"/>
                  </a:lnTo>
                  <a:lnTo>
                    <a:pt x="18" y="42"/>
                  </a:lnTo>
                  <a:lnTo>
                    <a:pt x="23" y="24"/>
                  </a:lnTo>
                  <a:lnTo>
                    <a:pt x="33" y="10"/>
                  </a:lnTo>
                  <a:lnTo>
                    <a:pt x="49" y="2"/>
                  </a:lnTo>
                  <a:lnTo>
                    <a:pt x="68"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1" name="Freeform 19"/>
            <p:cNvSpPr>
              <a:spLocks/>
            </p:cNvSpPr>
            <p:nvPr userDrawn="1"/>
          </p:nvSpPr>
          <p:spPr bwMode="auto">
            <a:xfrm>
              <a:off x="8280113" y="371948"/>
              <a:ext cx="46154" cy="141430"/>
            </a:xfrm>
            <a:custGeom>
              <a:avLst/>
              <a:gdLst>
                <a:gd name="T0" fmla="*/ 119 w 171"/>
                <a:gd name="T1" fmla="*/ 0 h 524"/>
                <a:gd name="T2" fmla="*/ 136 w 171"/>
                <a:gd name="T3" fmla="*/ 0 h 524"/>
                <a:gd name="T4" fmla="*/ 154 w 171"/>
                <a:gd name="T5" fmla="*/ 9 h 524"/>
                <a:gd name="T6" fmla="*/ 166 w 171"/>
                <a:gd name="T7" fmla="*/ 21 h 524"/>
                <a:gd name="T8" fmla="*/ 171 w 171"/>
                <a:gd name="T9" fmla="*/ 37 h 524"/>
                <a:gd name="T10" fmla="*/ 171 w 171"/>
                <a:gd name="T11" fmla="*/ 56 h 524"/>
                <a:gd name="T12" fmla="*/ 91 w 171"/>
                <a:gd name="T13" fmla="*/ 489 h 524"/>
                <a:gd name="T14" fmla="*/ 84 w 171"/>
                <a:gd name="T15" fmla="*/ 506 h 524"/>
                <a:gd name="T16" fmla="*/ 70 w 171"/>
                <a:gd name="T17" fmla="*/ 517 h 524"/>
                <a:gd name="T18" fmla="*/ 54 w 171"/>
                <a:gd name="T19" fmla="*/ 524 h 524"/>
                <a:gd name="T20" fmla="*/ 37 w 171"/>
                <a:gd name="T21" fmla="*/ 524 h 524"/>
                <a:gd name="T22" fmla="*/ 19 w 171"/>
                <a:gd name="T23" fmla="*/ 517 h 524"/>
                <a:gd name="T24" fmla="*/ 7 w 171"/>
                <a:gd name="T25" fmla="*/ 503 h 524"/>
                <a:gd name="T26" fmla="*/ 0 w 171"/>
                <a:gd name="T27" fmla="*/ 487 h 524"/>
                <a:gd name="T28" fmla="*/ 2 w 171"/>
                <a:gd name="T29" fmla="*/ 468 h 524"/>
                <a:gd name="T30" fmla="*/ 82 w 171"/>
                <a:gd name="T31" fmla="*/ 35 h 524"/>
                <a:gd name="T32" fmla="*/ 89 w 171"/>
                <a:gd name="T33" fmla="*/ 19 h 524"/>
                <a:gd name="T34" fmla="*/ 101 w 171"/>
                <a:gd name="T35" fmla="*/ 7 h 524"/>
                <a:gd name="T36" fmla="*/ 119 w 171"/>
                <a:gd name="T3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524">
                  <a:moveTo>
                    <a:pt x="119" y="0"/>
                  </a:moveTo>
                  <a:lnTo>
                    <a:pt x="136" y="0"/>
                  </a:lnTo>
                  <a:lnTo>
                    <a:pt x="154" y="9"/>
                  </a:lnTo>
                  <a:lnTo>
                    <a:pt x="166" y="21"/>
                  </a:lnTo>
                  <a:lnTo>
                    <a:pt x="171" y="37"/>
                  </a:lnTo>
                  <a:lnTo>
                    <a:pt x="171" y="56"/>
                  </a:lnTo>
                  <a:lnTo>
                    <a:pt x="91" y="489"/>
                  </a:lnTo>
                  <a:lnTo>
                    <a:pt x="84" y="506"/>
                  </a:lnTo>
                  <a:lnTo>
                    <a:pt x="70" y="517"/>
                  </a:lnTo>
                  <a:lnTo>
                    <a:pt x="54" y="524"/>
                  </a:lnTo>
                  <a:lnTo>
                    <a:pt x="37" y="524"/>
                  </a:lnTo>
                  <a:lnTo>
                    <a:pt x="19" y="517"/>
                  </a:lnTo>
                  <a:lnTo>
                    <a:pt x="7" y="503"/>
                  </a:lnTo>
                  <a:lnTo>
                    <a:pt x="0" y="487"/>
                  </a:lnTo>
                  <a:lnTo>
                    <a:pt x="2" y="468"/>
                  </a:lnTo>
                  <a:lnTo>
                    <a:pt x="82" y="35"/>
                  </a:lnTo>
                  <a:lnTo>
                    <a:pt x="89" y="19"/>
                  </a:lnTo>
                  <a:lnTo>
                    <a:pt x="101" y="7"/>
                  </a:lnTo>
                  <a:lnTo>
                    <a:pt x="11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2" name="Freeform 20"/>
            <p:cNvSpPr>
              <a:spLocks/>
            </p:cNvSpPr>
            <p:nvPr userDrawn="1"/>
          </p:nvSpPr>
          <p:spPr bwMode="auto">
            <a:xfrm>
              <a:off x="8379438" y="365740"/>
              <a:ext cx="68826" cy="161673"/>
            </a:xfrm>
            <a:custGeom>
              <a:avLst/>
              <a:gdLst>
                <a:gd name="T0" fmla="*/ 206 w 255"/>
                <a:gd name="T1" fmla="*/ 0 h 599"/>
                <a:gd name="T2" fmla="*/ 226 w 255"/>
                <a:gd name="T3" fmla="*/ 4 h 599"/>
                <a:gd name="T4" fmla="*/ 241 w 255"/>
                <a:gd name="T5" fmla="*/ 13 h 599"/>
                <a:gd name="T6" fmla="*/ 252 w 255"/>
                <a:gd name="T7" fmla="*/ 27 h 599"/>
                <a:gd name="T8" fmla="*/ 255 w 255"/>
                <a:gd name="T9" fmla="*/ 44 h 599"/>
                <a:gd name="T10" fmla="*/ 254 w 255"/>
                <a:gd name="T11" fmla="*/ 62 h 599"/>
                <a:gd name="T12" fmla="*/ 90 w 255"/>
                <a:gd name="T13" fmla="*/ 569 h 599"/>
                <a:gd name="T14" fmla="*/ 81 w 255"/>
                <a:gd name="T15" fmla="*/ 585 h 599"/>
                <a:gd name="T16" fmla="*/ 65 w 255"/>
                <a:gd name="T17" fmla="*/ 596 h 599"/>
                <a:gd name="T18" fmla="*/ 49 w 255"/>
                <a:gd name="T19" fmla="*/ 599 h 599"/>
                <a:gd name="T20" fmla="*/ 30 w 255"/>
                <a:gd name="T21" fmla="*/ 597 h 599"/>
                <a:gd name="T22" fmla="*/ 14 w 255"/>
                <a:gd name="T23" fmla="*/ 587 h 599"/>
                <a:gd name="T24" fmla="*/ 4 w 255"/>
                <a:gd name="T25" fmla="*/ 573 h 599"/>
                <a:gd name="T26" fmla="*/ 0 w 255"/>
                <a:gd name="T27" fmla="*/ 556 h 599"/>
                <a:gd name="T28" fmla="*/ 2 w 255"/>
                <a:gd name="T29" fmla="*/ 538 h 599"/>
                <a:gd name="T30" fmla="*/ 166 w 255"/>
                <a:gd name="T31" fmla="*/ 30 h 599"/>
                <a:gd name="T32" fmla="*/ 175 w 255"/>
                <a:gd name="T33" fmla="*/ 16 h 599"/>
                <a:gd name="T34" fmla="*/ 191 w 255"/>
                <a:gd name="T35" fmla="*/ 6 h 599"/>
                <a:gd name="T36" fmla="*/ 206 w 255"/>
                <a:gd name="T3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5" h="599">
                  <a:moveTo>
                    <a:pt x="206" y="0"/>
                  </a:moveTo>
                  <a:lnTo>
                    <a:pt x="226" y="4"/>
                  </a:lnTo>
                  <a:lnTo>
                    <a:pt x="241" y="13"/>
                  </a:lnTo>
                  <a:lnTo>
                    <a:pt x="252" y="27"/>
                  </a:lnTo>
                  <a:lnTo>
                    <a:pt x="255" y="44"/>
                  </a:lnTo>
                  <a:lnTo>
                    <a:pt x="254" y="62"/>
                  </a:lnTo>
                  <a:lnTo>
                    <a:pt x="90" y="569"/>
                  </a:lnTo>
                  <a:lnTo>
                    <a:pt x="81" y="585"/>
                  </a:lnTo>
                  <a:lnTo>
                    <a:pt x="65" y="596"/>
                  </a:lnTo>
                  <a:lnTo>
                    <a:pt x="49" y="599"/>
                  </a:lnTo>
                  <a:lnTo>
                    <a:pt x="30" y="597"/>
                  </a:lnTo>
                  <a:lnTo>
                    <a:pt x="14" y="587"/>
                  </a:lnTo>
                  <a:lnTo>
                    <a:pt x="4" y="573"/>
                  </a:lnTo>
                  <a:lnTo>
                    <a:pt x="0" y="556"/>
                  </a:lnTo>
                  <a:lnTo>
                    <a:pt x="2" y="538"/>
                  </a:lnTo>
                  <a:lnTo>
                    <a:pt x="166" y="30"/>
                  </a:lnTo>
                  <a:lnTo>
                    <a:pt x="175" y="16"/>
                  </a:lnTo>
                  <a:lnTo>
                    <a:pt x="191" y="6"/>
                  </a:lnTo>
                  <a:lnTo>
                    <a:pt x="206"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3" name="Freeform 21"/>
            <p:cNvSpPr>
              <a:spLocks/>
            </p:cNvSpPr>
            <p:nvPr userDrawn="1"/>
          </p:nvSpPr>
          <p:spPr bwMode="auto">
            <a:xfrm>
              <a:off x="8477144" y="377076"/>
              <a:ext cx="95007" cy="176788"/>
            </a:xfrm>
            <a:custGeom>
              <a:avLst/>
              <a:gdLst>
                <a:gd name="T0" fmla="*/ 309 w 352"/>
                <a:gd name="T1" fmla="*/ 0 h 655"/>
                <a:gd name="T2" fmla="*/ 326 w 352"/>
                <a:gd name="T3" fmla="*/ 6 h 655"/>
                <a:gd name="T4" fmla="*/ 342 w 352"/>
                <a:gd name="T5" fmla="*/ 18 h 655"/>
                <a:gd name="T6" fmla="*/ 349 w 352"/>
                <a:gd name="T7" fmla="*/ 32 h 655"/>
                <a:gd name="T8" fmla="*/ 352 w 352"/>
                <a:gd name="T9" fmla="*/ 49 h 655"/>
                <a:gd name="T10" fmla="*/ 347 w 352"/>
                <a:gd name="T11" fmla="*/ 68 h 655"/>
                <a:gd name="T12" fmla="*/ 87 w 352"/>
                <a:gd name="T13" fmla="*/ 630 h 655"/>
                <a:gd name="T14" fmla="*/ 77 w 352"/>
                <a:gd name="T15" fmla="*/ 644 h 655"/>
                <a:gd name="T16" fmla="*/ 61 w 352"/>
                <a:gd name="T17" fmla="*/ 653 h 655"/>
                <a:gd name="T18" fmla="*/ 43 w 352"/>
                <a:gd name="T19" fmla="*/ 655 h 655"/>
                <a:gd name="T20" fmla="*/ 26 w 352"/>
                <a:gd name="T21" fmla="*/ 650 h 655"/>
                <a:gd name="T22" fmla="*/ 10 w 352"/>
                <a:gd name="T23" fmla="*/ 639 h 655"/>
                <a:gd name="T24" fmla="*/ 3 w 352"/>
                <a:gd name="T25" fmla="*/ 623 h 655"/>
                <a:gd name="T26" fmla="*/ 0 w 352"/>
                <a:gd name="T27" fmla="*/ 606 h 655"/>
                <a:gd name="T28" fmla="*/ 5 w 352"/>
                <a:gd name="T29" fmla="*/ 589 h 655"/>
                <a:gd name="T30" fmla="*/ 265 w 352"/>
                <a:gd name="T31" fmla="*/ 27 h 655"/>
                <a:gd name="T32" fmla="*/ 276 w 352"/>
                <a:gd name="T33" fmla="*/ 11 h 655"/>
                <a:gd name="T34" fmla="*/ 291 w 352"/>
                <a:gd name="T35" fmla="*/ 4 h 655"/>
                <a:gd name="T36" fmla="*/ 309 w 352"/>
                <a:gd name="T3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2" h="655">
                  <a:moveTo>
                    <a:pt x="309" y="0"/>
                  </a:moveTo>
                  <a:lnTo>
                    <a:pt x="326" y="6"/>
                  </a:lnTo>
                  <a:lnTo>
                    <a:pt x="342" y="18"/>
                  </a:lnTo>
                  <a:lnTo>
                    <a:pt x="349" y="32"/>
                  </a:lnTo>
                  <a:lnTo>
                    <a:pt x="352" y="49"/>
                  </a:lnTo>
                  <a:lnTo>
                    <a:pt x="347" y="68"/>
                  </a:lnTo>
                  <a:lnTo>
                    <a:pt x="87" y="630"/>
                  </a:lnTo>
                  <a:lnTo>
                    <a:pt x="77" y="644"/>
                  </a:lnTo>
                  <a:lnTo>
                    <a:pt x="61" y="653"/>
                  </a:lnTo>
                  <a:lnTo>
                    <a:pt x="43" y="655"/>
                  </a:lnTo>
                  <a:lnTo>
                    <a:pt x="26" y="650"/>
                  </a:lnTo>
                  <a:lnTo>
                    <a:pt x="10" y="639"/>
                  </a:lnTo>
                  <a:lnTo>
                    <a:pt x="3" y="623"/>
                  </a:lnTo>
                  <a:lnTo>
                    <a:pt x="0" y="606"/>
                  </a:lnTo>
                  <a:lnTo>
                    <a:pt x="5" y="589"/>
                  </a:lnTo>
                  <a:lnTo>
                    <a:pt x="265" y="27"/>
                  </a:lnTo>
                  <a:lnTo>
                    <a:pt x="276" y="11"/>
                  </a:lnTo>
                  <a:lnTo>
                    <a:pt x="291" y="4"/>
                  </a:lnTo>
                  <a:lnTo>
                    <a:pt x="309"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4" name="Freeform 22"/>
            <p:cNvSpPr>
              <a:spLocks/>
            </p:cNvSpPr>
            <p:nvPr userDrawn="1"/>
          </p:nvSpPr>
          <p:spPr bwMode="auto">
            <a:xfrm>
              <a:off x="8573230" y="405416"/>
              <a:ext cx="122537" cy="187584"/>
            </a:xfrm>
            <a:custGeom>
              <a:avLst/>
              <a:gdLst>
                <a:gd name="T0" fmla="*/ 417 w 454"/>
                <a:gd name="T1" fmla="*/ 0 h 695"/>
                <a:gd name="T2" fmla="*/ 433 w 454"/>
                <a:gd name="T3" fmla="*/ 7 h 695"/>
                <a:gd name="T4" fmla="*/ 447 w 454"/>
                <a:gd name="T5" fmla="*/ 21 h 695"/>
                <a:gd name="T6" fmla="*/ 454 w 454"/>
                <a:gd name="T7" fmla="*/ 37 h 695"/>
                <a:gd name="T8" fmla="*/ 454 w 454"/>
                <a:gd name="T9" fmla="*/ 54 h 695"/>
                <a:gd name="T10" fmla="*/ 447 w 454"/>
                <a:gd name="T11" fmla="*/ 72 h 695"/>
                <a:gd name="T12" fmla="*/ 84 w 454"/>
                <a:gd name="T13" fmla="*/ 676 h 695"/>
                <a:gd name="T14" fmla="*/ 70 w 454"/>
                <a:gd name="T15" fmla="*/ 688 h 695"/>
                <a:gd name="T16" fmla="*/ 54 w 454"/>
                <a:gd name="T17" fmla="*/ 695 h 695"/>
                <a:gd name="T18" fmla="*/ 37 w 454"/>
                <a:gd name="T19" fmla="*/ 695 h 695"/>
                <a:gd name="T20" fmla="*/ 19 w 454"/>
                <a:gd name="T21" fmla="*/ 688 h 695"/>
                <a:gd name="T22" fmla="*/ 7 w 454"/>
                <a:gd name="T23" fmla="*/ 676 h 695"/>
                <a:gd name="T24" fmla="*/ 0 w 454"/>
                <a:gd name="T25" fmla="*/ 660 h 695"/>
                <a:gd name="T26" fmla="*/ 0 w 454"/>
                <a:gd name="T27" fmla="*/ 642 h 695"/>
                <a:gd name="T28" fmla="*/ 7 w 454"/>
                <a:gd name="T29" fmla="*/ 625 h 695"/>
                <a:gd name="T30" fmla="*/ 370 w 454"/>
                <a:gd name="T31" fmla="*/ 21 h 695"/>
                <a:gd name="T32" fmla="*/ 382 w 454"/>
                <a:gd name="T33" fmla="*/ 7 h 695"/>
                <a:gd name="T34" fmla="*/ 400 w 454"/>
                <a:gd name="T35" fmla="*/ 0 h 695"/>
                <a:gd name="T36" fmla="*/ 417 w 454"/>
                <a:gd name="T37"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695">
                  <a:moveTo>
                    <a:pt x="417" y="0"/>
                  </a:moveTo>
                  <a:lnTo>
                    <a:pt x="433" y="7"/>
                  </a:lnTo>
                  <a:lnTo>
                    <a:pt x="447" y="21"/>
                  </a:lnTo>
                  <a:lnTo>
                    <a:pt x="454" y="37"/>
                  </a:lnTo>
                  <a:lnTo>
                    <a:pt x="454" y="54"/>
                  </a:lnTo>
                  <a:lnTo>
                    <a:pt x="447" y="72"/>
                  </a:lnTo>
                  <a:lnTo>
                    <a:pt x="84" y="676"/>
                  </a:lnTo>
                  <a:lnTo>
                    <a:pt x="70" y="688"/>
                  </a:lnTo>
                  <a:lnTo>
                    <a:pt x="54" y="695"/>
                  </a:lnTo>
                  <a:lnTo>
                    <a:pt x="37" y="695"/>
                  </a:lnTo>
                  <a:lnTo>
                    <a:pt x="19" y="688"/>
                  </a:lnTo>
                  <a:lnTo>
                    <a:pt x="7" y="676"/>
                  </a:lnTo>
                  <a:lnTo>
                    <a:pt x="0" y="660"/>
                  </a:lnTo>
                  <a:lnTo>
                    <a:pt x="0" y="642"/>
                  </a:lnTo>
                  <a:lnTo>
                    <a:pt x="7" y="625"/>
                  </a:lnTo>
                  <a:lnTo>
                    <a:pt x="370" y="21"/>
                  </a:lnTo>
                  <a:lnTo>
                    <a:pt x="382" y="7"/>
                  </a:lnTo>
                  <a:lnTo>
                    <a:pt x="400" y="0"/>
                  </a:lnTo>
                  <a:lnTo>
                    <a:pt x="417"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sp>
          <p:nvSpPr>
            <p:cNvPr id="25" name="Freeform 23"/>
            <p:cNvSpPr>
              <a:spLocks/>
            </p:cNvSpPr>
            <p:nvPr userDrawn="1"/>
          </p:nvSpPr>
          <p:spPr bwMode="auto">
            <a:xfrm>
              <a:off x="8663109" y="450760"/>
              <a:ext cx="154656" cy="193522"/>
            </a:xfrm>
            <a:custGeom>
              <a:avLst/>
              <a:gdLst>
                <a:gd name="T0" fmla="*/ 522 w 573"/>
                <a:gd name="T1" fmla="*/ 0 h 717"/>
                <a:gd name="T2" fmla="*/ 540 w 573"/>
                <a:gd name="T3" fmla="*/ 1 h 717"/>
                <a:gd name="T4" fmla="*/ 557 w 573"/>
                <a:gd name="T5" fmla="*/ 10 h 717"/>
                <a:gd name="T6" fmla="*/ 568 w 573"/>
                <a:gd name="T7" fmla="*/ 24 h 717"/>
                <a:gd name="T8" fmla="*/ 573 w 573"/>
                <a:gd name="T9" fmla="*/ 40 h 717"/>
                <a:gd name="T10" fmla="*/ 571 w 573"/>
                <a:gd name="T11" fmla="*/ 57 h 717"/>
                <a:gd name="T12" fmla="*/ 562 w 573"/>
                <a:gd name="T13" fmla="*/ 75 h 717"/>
                <a:gd name="T14" fmla="*/ 81 w 573"/>
                <a:gd name="T15" fmla="*/ 700 h 717"/>
                <a:gd name="T16" fmla="*/ 67 w 573"/>
                <a:gd name="T17" fmla="*/ 712 h 717"/>
                <a:gd name="T18" fmla="*/ 51 w 573"/>
                <a:gd name="T19" fmla="*/ 717 h 717"/>
                <a:gd name="T20" fmla="*/ 32 w 573"/>
                <a:gd name="T21" fmla="*/ 715 h 717"/>
                <a:gd name="T22" fmla="*/ 16 w 573"/>
                <a:gd name="T23" fmla="*/ 707 h 717"/>
                <a:gd name="T24" fmla="*/ 5 w 573"/>
                <a:gd name="T25" fmla="*/ 693 h 717"/>
                <a:gd name="T26" fmla="*/ 0 w 573"/>
                <a:gd name="T27" fmla="*/ 675 h 717"/>
                <a:gd name="T28" fmla="*/ 2 w 573"/>
                <a:gd name="T29" fmla="*/ 658 h 717"/>
                <a:gd name="T30" fmla="*/ 11 w 573"/>
                <a:gd name="T31" fmla="*/ 642 h 717"/>
                <a:gd name="T32" fmla="*/ 491 w 573"/>
                <a:gd name="T33" fmla="*/ 15 h 717"/>
                <a:gd name="T34" fmla="*/ 506 w 573"/>
                <a:gd name="T35" fmla="*/ 3 h 717"/>
                <a:gd name="T36" fmla="*/ 522 w 573"/>
                <a:gd name="T37" fmla="*/ 0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717">
                  <a:moveTo>
                    <a:pt x="522" y="0"/>
                  </a:moveTo>
                  <a:lnTo>
                    <a:pt x="540" y="1"/>
                  </a:lnTo>
                  <a:lnTo>
                    <a:pt x="557" y="10"/>
                  </a:lnTo>
                  <a:lnTo>
                    <a:pt x="568" y="24"/>
                  </a:lnTo>
                  <a:lnTo>
                    <a:pt x="573" y="40"/>
                  </a:lnTo>
                  <a:lnTo>
                    <a:pt x="571" y="57"/>
                  </a:lnTo>
                  <a:lnTo>
                    <a:pt x="562" y="75"/>
                  </a:lnTo>
                  <a:lnTo>
                    <a:pt x="81" y="700"/>
                  </a:lnTo>
                  <a:lnTo>
                    <a:pt x="67" y="712"/>
                  </a:lnTo>
                  <a:lnTo>
                    <a:pt x="51" y="717"/>
                  </a:lnTo>
                  <a:lnTo>
                    <a:pt x="32" y="715"/>
                  </a:lnTo>
                  <a:lnTo>
                    <a:pt x="16" y="707"/>
                  </a:lnTo>
                  <a:lnTo>
                    <a:pt x="5" y="693"/>
                  </a:lnTo>
                  <a:lnTo>
                    <a:pt x="0" y="675"/>
                  </a:lnTo>
                  <a:lnTo>
                    <a:pt x="2" y="658"/>
                  </a:lnTo>
                  <a:lnTo>
                    <a:pt x="11" y="642"/>
                  </a:lnTo>
                  <a:lnTo>
                    <a:pt x="491" y="15"/>
                  </a:lnTo>
                  <a:lnTo>
                    <a:pt x="506" y="3"/>
                  </a:lnTo>
                  <a:lnTo>
                    <a:pt x="522" y="0"/>
                  </a:lnTo>
                  <a:close/>
                </a:path>
              </a:pathLst>
            </a:custGeom>
            <a:solidFill>
              <a:srgbClr val="F36A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latin typeface="Futura Bk BT" panose="020B0502020204020303" pitchFamily="34" charset="0"/>
              </a:endParaRPr>
            </a:p>
          </p:txBody>
        </p:sp>
      </p:grpSp>
    </p:spTree>
    <p:extLst>
      <p:ext uri="{BB962C8B-B14F-4D97-AF65-F5344CB8AC3E}">
        <p14:creationId xmlns:p14="http://schemas.microsoft.com/office/powerpoint/2010/main" val="3712472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page 2">
    <p:spTree>
      <p:nvGrpSpPr>
        <p:cNvPr id="1" name=""/>
        <p:cNvGrpSpPr/>
        <p:nvPr/>
      </p:nvGrpSpPr>
      <p:grpSpPr>
        <a:xfrm>
          <a:off x="0" y="0"/>
          <a:ext cx="0" cy="0"/>
          <a:chOff x="0" y="0"/>
          <a:chExt cx="0" cy="0"/>
        </a:xfrm>
      </p:grpSpPr>
      <p:pic>
        <p:nvPicPr>
          <p:cNvPr id="6" name="Picture 5" descr="A city next to a body of water&#10;&#10;Description automatically generated with medium confidence">
            <a:extLst>
              <a:ext uri="{FF2B5EF4-FFF2-40B4-BE49-F238E27FC236}">
                <a16:creationId xmlns:a16="http://schemas.microsoft.com/office/drawing/2014/main" id="{E4E97D2B-9C32-4F84-8698-2683B4AB5E28}"/>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18" name="Rectangle 17">
            <a:extLst>
              <a:ext uri="{FF2B5EF4-FFF2-40B4-BE49-F238E27FC236}">
                <a16:creationId xmlns:a16="http://schemas.microsoft.com/office/drawing/2014/main" id="{47D261F0-9B63-4776-9079-E8518B2744CF}"/>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7" name="Rectangle 6">
            <a:extLst>
              <a:ext uri="{FF2B5EF4-FFF2-40B4-BE49-F238E27FC236}">
                <a16:creationId xmlns:a16="http://schemas.microsoft.com/office/drawing/2014/main" id="{081D73D4-25AF-46DC-9E60-DC7A02A0A2E0}"/>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8BFE1C30-EA37-4E3C-B1DD-EE779BBF60D5}"/>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itle 4">
            <a:extLst>
              <a:ext uri="{FF2B5EF4-FFF2-40B4-BE49-F238E27FC236}">
                <a16:creationId xmlns:a16="http://schemas.microsoft.com/office/drawing/2014/main" id="{4AEEAEE3-11D0-4048-8E72-9FB34CE8D9B6}"/>
              </a:ext>
            </a:extLst>
          </p:cNvPr>
          <p:cNvSpPr>
            <a:spLocks noGrp="1"/>
          </p:cNvSpPr>
          <p:nvPr>
            <p:ph type="title"/>
          </p:nvPr>
        </p:nvSpPr>
        <p:spPr>
          <a:xfrm>
            <a:off x="400050" y="2360742"/>
            <a:ext cx="6696075" cy="1252715"/>
          </a:xfrm>
        </p:spPr>
        <p:txBody>
          <a:bodyPr vert="horz" wrap="square" lIns="0" tIns="0" rIns="0" bIns="0" rtlCol="0" anchor="b">
            <a:spAutoFit/>
          </a:bodyPr>
          <a:lstStyle>
            <a:lvl1pPr algn="l">
              <a:defRPr lang="en-US" sz="4500">
                <a:solidFill>
                  <a:schemeClr val="bg1"/>
                </a:solidFill>
                <a:latin typeface="Futura PT Heavy" panose="020B0802020204020303" pitchFamily="34" charset="0"/>
              </a:defRPr>
            </a:lvl1pPr>
          </a:lstStyle>
          <a:p>
            <a:pPr marL="0" lvl="0" algn="l"/>
            <a:r>
              <a:rPr lang="en-US"/>
              <a:t>Click to edit Master title style</a:t>
            </a:r>
          </a:p>
        </p:txBody>
      </p:sp>
      <p:sp>
        <p:nvSpPr>
          <p:cNvPr id="11" name="Text Placeholder 11">
            <a:extLst>
              <a:ext uri="{FF2B5EF4-FFF2-40B4-BE49-F238E27FC236}">
                <a16:creationId xmlns:a16="http://schemas.microsoft.com/office/drawing/2014/main" id="{B24EF64A-9F56-40BB-A4AD-D4B2CC4E9339}"/>
              </a:ext>
            </a:extLst>
          </p:cNvPr>
          <p:cNvSpPr>
            <a:spLocks noGrp="1"/>
          </p:cNvSpPr>
          <p:nvPr>
            <p:ph type="body" sz="quarter" idx="11" hasCustomPrompt="1"/>
          </p:nvPr>
        </p:nvSpPr>
        <p:spPr>
          <a:xfrm>
            <a:off x="400050" y="3783717"/>
            <a:ext cx="6696075" cy="323165"/>
          </a:xfrm>
          <a:prstGeom prst="rect">
            <a:avLst/>
          </a:prstGeom>
        </p:spPr>
        <p:txBody>
          <a:bodyPr vert="horz" wrap="square" lIns="0" tIns="0" rIns="0" bIns="0" rtlCol="0">
            <a:noAutofit/>
          </a:bodyPr>
          <a:lstStyle>
            <a:lvl1pPr>
              <a:defRPr lang="en-US" sz="2100" dirty="0" smtClean="0">
                <a:solidFill>
                  <a:schemeClr val="bg1"/>
                </a:solidFill>
                <a:latin typeface="Futura PT Medium" panose="020B0602020204020303" pitchFamily="34" charset="0"/>
              </a:defRPr>
            </a:lvl1pPr>
          </a:lstStyle>
          <a:p>
            <a:pPr lvl="0"/>
            <a:r>
              <a:rPr lang="en-US"/>
              <a:t>Click to edit Master subtitle style</a:t>
            </a:r>
          </a:p>
        </p:txBody>
      </p:sp>
      <p:sp>
        <p:nvSpPr>
          <p:cNvPr id="12" name="Text Placeholder 48">
            <a:extLst>
              <a:ext uri="{FF2B5EF4-FFF2-40B4-BE49-F238E27FC236}">
                <a16:creationId xmlns:a16="http://schemas.microsoft.com/office/drawing/2014/main" id="{712753D9-07A7-4EC5-B845-4D90FAB97A5D}"/>
              </a:ext>
            </a:extLst>
          </p:cNvPr>
          <p:cNvSpPr>
            <a:spLocks noGrp="1"/>
          </p:cNvSpPr>
          <p:nvPr>
            <p:ph type="body" sz="quarter" idx="10" hasCustomPrompt="1"/>
          </p:nvPr>
        </p:nvSpPr>
        <p:spPr>
          <a:xfrm>
            <a:off x="400050" y="4277141"/>
            <a:ext cx="6696075" cy="209801"/>
          </a:xfrm>
          <a:prstGeom prst="rect">
            <a:avLst/>
          </a:prstGeom>
        </p:spPr>
        <p:txBody>
          <a:bodyPr vert="horz" wrap="square" lIns="0" tIns="0" rIns="0" bIns="0" rtlCol="0">
            <a:spAutoFit/>
          </a:bodyPr>
          <a:lstStyle>
            <a:lvl1pPr>
              <a:defRPr lang="en-US" sz="1500" dirty="0">
                <a:solidFill>
                  <a:schemeClr val="bg1"/>
                </a:solidFill>
                <a:latin typeface="Futura PT Medium" panose="020B0602020204020303" pitchFamily="34" charset="0"/>
              </a:defRPr>
            </a:lvl1pPr>
          </a:lstStyle>
          <a:p>
            <a:pPr lvl="0"/>
            <a:r>
              <a:rPr lang="en-US"/>
              <a:t>Document type | Date</a:t>
            </a:r>
          </a:p>
        </p:txBody>
      </p:sp>
      <p:sp>
        <p:nvSpPr>
          <p:cNvPr id="13" name="Picture Placeholder 4">
            <a:extLst>
              <a:ext uri="{FF2B5EF4-FFF2-40B4-BE49-F238E27FC236}">
                <a16:creationId xmlns:a16="http://schemas.microsoft.com/office/drawing/2014/main" id="{3C5CC668-BE76-4CC5-80CF-2AEB0F02706D}"/>
              </a:ext>
            </a:extLst>
          </p:cNvPr>
          <p:cNvSpPr>
            <a:spLocks noGrp="1"/>
          </p:cNvSpPr>
          <p:nvPr>
            <p:ph type="pic" sz="quarter" idx="12" hasCustomPrompt="1"/>
          </p:nvPr>
        </p:nvSpPr>
        <p:spPr>
          <a:xfrm>
            <a:off x="7543800" y="3884086"/>
            <a:ext cx="1428750" cy="623888"/>
          </a:xfrm>
          <a:prstGeom prst="rect">
            <a:avLst/>
          </a:prstGeom>
        </p:spPr>
        <p:txBody>
          <a:bodyPr>
            <a:normAutofit/>
          </a:bodyPr>
          <a:lstStyle>
            <a:lvl1pPr>
              <a:defRPr sz="1650">
                <a:solidFill>
                  <a:schemeClr val="bg1"/>
                </a:solidFill>
              </a:defRPr>
            </a:lvl1pPr>
          </a:lstStyle>
          <a:p>
            <a:r>
              <a:rPr lang="en-US"/>
              <a:t>Client Logo</a:t>
            </a:r>
          </a:p>
        </p:txBody>
      </p:sp>
      <p:grpSp>
        <p:nvGrpSpPr>
          <p:cNvPr id="14" name="Group 13">
            <a:extLst>
              <a:ext uri="{FF2B5EF4-FFF2-40B4-BE49-F238E27FC236}">
                <a16:creationId xmlns:a16="http://schemas.microsoft.com/office/drawing/2014/main" id="{C5AAABFA-9FC9-4FC3-9F82-7C35E80F2CA7}"/>
              </a:ext>
            </a:extLst>
          </p:cNvPr>
          <p:cNvGrpSpPr/>
          <p:nvPr userDrawn="1"/>
        </p:nvGrpSpPr>
        <p:grpSpPr>
          <a:xfrm>
            <a:off x="7400925" y="2207976"/>
            <a:ext cx="1696028" cy="796585"/>
            <a:chOff x="9867900" y="2943967"/>
            <a:chExt cx="2261370" cy="1062113"/>
          </a:xfrm>
        </p:grpSpPr>
        <p:pic>
          <p:nvPicPr>
            <p:cNvPr id="15" name="Picture 14" descr="A picture containing text, device, gauge, meter&#10;&#10;Description automatically generated">
              <a:extLst>
                <a:ext uri="{FF2B5EF4-FFF2-40B4-BE49-F238E27FC236}">
                  <a16:creationId xmlns:a16="http://schemas.microsoft.com/office/drawing/2014/main" id="{811CD43D-C14E-4288-B317-AE82378D586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6" name="Picture 15">
              <a:extLst>
                <a:ext uri="{FF2B5EF4-FFF2-40B4-BE49-F238E27FC236}">
                  <a16:creationId xmlns:a16="http://schemas.microsoft.com/office/drawing/2014/main" id="{5A03B5EE-D6D0-47B8-AACB-A140E26FF8B3}"/>
                </a:ext>
              </a:extLst>
            </p:cNvPr>
            <p:cNvPicPr>
              <a:picLocks noChangeAspect="1"/>
            </p:cNvPicPr>
            <p:nvPr userDrawn="1"/>
          </p:nvPicPr>
          <p:blipFill rotWithShape="1">
            <a:blip r:embed="rId5"/>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3214815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9962C6B-97B7-4A3F-A745-927A5993228C}"/>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538C35F0-668F-4C51-B5ED-925DB0D73B9A}"/>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FFEC0E-325B-4AC8-B200-560BBAE07FBA}"/>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57CDA357-23F5-4A53-9F05-7A1794C5D04E}"/>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D1A20FE6-FD32-4E0E-9649-476D81C9507E}"/>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E4489451-4D7D-4AE4-9A2D-922D8CB9BC12}"/>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6CE65A7E-D50C-48EC-8485-CAAAC6E8875A}"/>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22EAA96D-589C-48C7-9039-9F3D102B83D4}"/>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A63FEE8B-6311-4B82-9FD5-EF15316512FB}"/>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2D546A6-7EA6-45EB-9981-56400A112DC7}"/>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BD64DB9F-BB91-456D-B12F-BD03B9FC8CC8}"/>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0092C18A-978C-4558-8733-8BEB29F2C8C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A434CFD-15BD-4A84-A988-D78B2A99E6FD}"/>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E7E0CA17-09C8-4421-A17F-F7150CA8363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6894D6D0-8C5F-4C32-AE02-688F3D5F1361}"/>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DEBAE9A3-D44D-480C-AB57-496F2C097E5F}"/>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E6921006-2709-46D3-97C8-C82F4AD58F95}"/>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EEF87675-C2C9-4EAA-9B6B-32065F095324}"/>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D4BF622-BE31-4D3F-88CA-E5A1B0798B83}"/>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5B3FF8B8-8E78-4271-A534-4D183F36942D}"/>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A90811F2-A508-4ABD-ACED-3D6EB2A47B7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86FB4588-DBB7-4D69-AF4A-A3A18F15F10F}"/>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8B84EFE9-E30A-4936-A2B0-DF8F0B8245CC}"/>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D72F25-2CE5-4784-A808-C59DBF2969EC}"/>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565D6123-3BDA-4729-8D12-36E6EA807281}"/>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75983195-3A14-48C9-8B70-C6A58FDE0F2E}"/>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FE2F51AE-EEE0-4202-B549-13F2BE8B690D}"/>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9E6BECE1-AD03-4BDD-851A-15E303BB9B6B}"/>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EC6DF778-B6B6-4839-9AB9-67782E681139}"/>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55B026B0-850C-4941-A8A7-4E14D7C729A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B5A17B28-41FB-458E-A49C-279B90026C6C}"/>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9B43E33A-8E6A-4161-8EAB-254A2F4AACF1}"/>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8E175D8-1A38-46DB-9F49-22FCF98818A8}"/>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77B46E55-37A5-44C8-8290-9A16C8758D93}"/>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C801B3AF-7921-4E0E-9D27-43E42F1ECE06}"/>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A459FB25-0299-4C48-BC06-8F148EA7D315}"/>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52A717B4-5525-4BF0-8168-9C73D8F23F4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5F84CCDF-75E1-4321-B8E4-DE0231D6D5FF}"/>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222D565F-029E-4709-BA21-79A981D71CB9}"/>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A7B6C78-991B-41C3-A812-8AD63171D00E}"/>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531F1BE1-F427-4F99-9DB3-FAFBAE3E1820}"/>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03D54E43-57F1-498F-A15D-7E12A4D29A04}"/>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720A8ABA-286B-477E-A49A-DC9E36DA3EFA}"/>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9588560E-2A24-46F7-8BEC-E285DEB123FD}"/>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4A3C652-3D8C-4483-9266-F89EB22FB0C7}"/>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BAA68DF3-884C-445D-B9B6-F2C7FAA997E0}"/>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E0EA9226-E8E6-4B85-A679-143BB9AF62EF}"/>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4628D86A-10E3-4A6B-9DF9-3DAFA6F8D0C8}"/>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DC65D844-534B-423D-94AA-4EEA662B01F1}"/>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3BED3B9B-19B8-4599-95EE-60418112335A}"/>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0F60622-5B49-4B9D-AF9C-09282E84DA22}"/>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5D25031D-B863-45CD-90AA-D70034C227E7}"/>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9825AAA5-FAD0-4B11-A9F0-37353B5F3992}"/>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79F4D9AD-D006-4D10-8ADD-00BC43CA9CD8}"/>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AAC0B335-7BC7-48C5-AEDC-FEA8F853675F}"/>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34DA7E5-59BC-4213-BF0D-851397BF0443}"/>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DF90EE1-2F14-4210-8017-2EABD6B16460}"/>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9398CDB9-A1CF-4BD7-B4B0-7CBF9D06034C}"/>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C30D31E1-F5EC-4C91-9EAD-DB5A4198D97A}"/>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5BFD3A34-FBDC-4C75-BBB2-A401415B252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3845307C-560F-403A-A3D5-628F76C57348}"/>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B58AF3C8-44DF-42F8-BE3F-7A5F3EBA3E7E}"/>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BD994FBC-7DAD-4472-87FE-D9B6E7AA7ECF}"/>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83174"/>
            <a:ext cx="7949476"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0" name="Straight Connector 69">
            <a:extLst>
              <a:ext uri="{FF2B5EF4-FFF2-40B4-BE49-F238E27FC236}">
                <a16:creationId xmlns:a16="http://schemas.microsoft.com/office/drawing/2014/main" id="{E83CFB56-03D7-43FB-AED1-71E05D085A24}"/>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96172A8-1D69-4D0A-B528-1A57191A325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2" name="Rectangle 71">
              <a:extLst>
                <a:ext uri="{FF2B5EF4-FFF2-40B4-BE49-F238E27FC236}">
                  <a16:creationId xmlns:a16="http://schemas.microsoft.com/office/drawing/2014/main" id="{0445D9F8-D0FC-4FF8-9EDF-87E886C99829}"/>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3" name="Rectangle 72">
              <a:extLst>
                <a:ext uri="{FF2B5EF4-FFF2-40B4-BE49-F238E27FC236}">
                  <a16:creationId xmlns:a16="http://schemas.microsoft.com/office/drawing/2014/main" id="{28A9E293-DA88-46C4-BD48-2B43B14FC411}"/>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4" name="Rectangle 73">
              <a:extLst>
                <a:ext uri="{FF2B5EF4-FFF2-40B4-BE49-F238E27FC236}">
                  <a16:creationId xmlns:a16="http://schemas.microsoft.com/office/drawing/2014/main" id="{DD3B5580-8227-4079-8B82-C631FE97EAF6}"/>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5" name="Rectangle 74">
              <a:extLst>
                <a:ext uri="{FF2B5EF4-FFF2-40B4-BE49-F238E27FC236}">
                  <a16:creationId xmlns:a16="http://schemas.microsoft.com/office/drawing/2014/main" id="{69CF5E0C-48F0-4A24-ABDE-3D69C62A0BBA}"/>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
        <p:nvSpPr>
          <p:cNvPr id="77" name="Footer Placeholder 8">
            <a:extLst>
              <a:ext uri="{FF2B5EF4-FFF2-40B4-BE49-F238E27FC236}">
                <a16:creationId xmlns:a16="http://schemas.microsoft.com/office/drawing/2014/main" id="{52458F2B-5700-4352-8FAF-69F075D70F76}"/>
              </a:ext>
            </a:extLst>
          </p:cNvPr>
          <p:cNvSpPr>
            <a:spLocks noGrp="1"/>
          </p:cNvSpPr>
          <p:nvPr>
            <p:ph type="ftr" sz="quarter" idx="11"/>
          </p:nvPr>
        </p:nvSpPr>
        <p:spPr>
          <a:xfrm>
            <a:off x="1054593" y="4732021"/>
            <a:ext cx="7105711" cy="132923"/>
          </a:xfrm>
        </p:spPr>
        <p:txBody>
          <a:bodyPr lIns="0" tIns="0" rIns="0" bIns="0"/>
          <a:lstStyle>
            <a:lvl1pPr algn="l">
              <a:defRPr sz="750">
                <a:solidFill>
                  <a:schemeClr val="tx1"/>
                </a:solidFill>
                <a:latin typeface="Futura PT Light" panose="020B0402020204020303" pitchFamily="34" charset="0"/>
              </a:defRPr>
            </a:lvl1pPr>
          </a:lstStyle>
          <a:p>
            <a:r>
              <a:rPr lang="en-US"/>
              <a:t>Sourc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460041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9856660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50"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5"/>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29" y="476250"/>
            <a:ext cx="8722343" cy="416927"/>
          </a:xfrm>
        </p:spPr>
        <p:txBody>
          <a:bodyPr wrap="square" anchor="t">
            <a:noAutofit/>
          </a:bodyPr>
          <a:lstStyle>
            <a:lvl1pPr algn="l">
              <a:defRPr sz="2550" b="1">
                <a:latin typeface="Futura Hv BT" panose="020B0702020204020204" pitchFamily="34" charset="0"/>
              </a:defRPr>
            </a:lvl1pPr>
          </a:lstStyle>
          <a:p>
            <a:r>
              <a:rPr lang="en-US"/>
              <a:t>Click to edit Master title style</a:t>
            </a:r>
          </a:p>
        </p:txBody>
      </p:sp>
      <p:grpSp>
        <p:nvGrpSpPr>
          <p:cNvPr id="11" name="Group 10">
            <a:extLst>
              <a:ext uri="{FF2B5EF4-FFF2-40B4-BE49-F238E27FC236}">
                <a16:creationId xmlns:a16="http://schemas.microsoft.com/office/drawing/2014/main" id="{80213EF6-2B13-4A23-8C71-8A51B04F8A6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DD070840-9C4D-428A-B7F9-60998076C7E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32741405-8DB8-4006-AFF9-C5CC06DA4175}"/>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21E0A4C-6179-456F-A19E-594DEBD627BD}"/>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686B058C-15B3-4306-BDB2-410EE4DB785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1075987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Slide -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p:nvSpPr>
        <p:spPr>
          <a:xfrm>
            <a:off x="0" y="283266"/>
            <a:ext cx="8863220" cy="486023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7759976" y="4643686"/>
            <a:ext cx="885023" cy="317782"/>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1842326"/>
            <a:ext cx="6039046" cy="1820850"/>
          </a:xfrm>
        </p:spPr>
        <p:txBody>
          <a:bodyPr>
            <a:normAutofit/>
          </a:bodyPr>
          <a:lstStyle>
            <a:lvl1pPr>
              <a:defRPr sz="5400">
                <a:solidFill>
                  <a:schemeClr val="bg1"/>
                </a:solidFill>
              </a:defRPr>
            </a:lvl1pPr>
          </a:lstStyle>
          <a:p>
            <a:r>
              <a:rPr lang="en-US"/>
              <a:t>Click to edit Master title style</a:t>
            </a:r>
          </a:p>
        </p:txBody>
      </p:sp>
    </p:spTree>
    <p:extLst>
      <p:ext uri="{BB962C8B-B14F-4D97-AF65-F5344CB8AC3E}">
        <p14:creationId xmlns:p14="http://schemas.microsoft.com/office/powerpoint/2010/main" val="3649368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234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4523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pic>
        <p:nvPicPr>
          <p:cNvPr id="6" name="Picture 5" descr="A city next to a body of water&#10;&#10;Description automatically generated with medium confidence">
            <a:extLst>
              <a:ext uri="{FF2B5EF4-FFF2-40B4-BE49-F238E27FC236}">
                <a16:creationId xmlns:a16="http://schemas.microsoft.com/office/drawing/2014/main" id="{E4E97D2B-9C32-4F84-8698-2683B4AB5E28}"/>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18" name="Rectangle 17">
            <a:extLst>
              <a:ext uri="{FF2B5EF4-FFF2-40B4-BE49-F238E27FC236}">
                <a16:creationId xmlns:a16="http://schemas.microsoft.com/office/drawing/2014/main" id="{47D261F0-9B63-4776-9079-E8518B2744CF}"/>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7" name="Rectangle 6">
            <a:extLst>
              <a:ext uri="{FF2B5EF4-FFF2-40B4-BE49-F238E27FC236}">
                <a16:creationId xmlns:a16="http://schemas.microsoft.com/office/drawing/2014/main" id="{081D73D4-25AF-46DC-9E60-DC7A02A0A2E0}"/>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8BFE1C30-EA37-4E3C-B1DD-EE779BBF60D5}"/>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itle 4">
            <a:extLst>
              <a:ext uri="{FF2B5EF4-FFF2-40B4-BE49-F238E27FC236}">
                <a16:creationId xmlns:a16="http://schemas.microsoft.com/office/drawing/2014/main" id="{4AEEAEE3-11D0-4048-8E72-9FB34CE8D9B6}"/>
              </a:ext>
            </a:extLst>
          </p:cNvPr>
          <p:cNvSpPr>
            <a:spLocks noGrp="1"/>
          </p:cNvSpPr>
          <p:nvPr>
            <p:ph type="title"/>
          </p:nvPr>
        </p:nvSpPr>
        <p:spPr>
          <a:xfrm>
            <a:off x="400050" y="2366962"/>
            <a:ext cx="6696075" cy="1246495"/>
          </a:xfrm>
        </p:spPr>
        <p:txBody>
          <a:bodyPr vert="horz" wrap="square" lIns="0" tIns="0" rIns="0" bIns="0" rtlCol="0" anchor="b">
            <a:spAutoFit/>
          </a:bodyPr>
          <a:lstStyle>
            <a:lvl1pPr algn="l">
              <a:defRPr lang="en-US" sz="4500">
                <a:solidFill>
                  <a:schemeClr val="bg1"/>
                </a:solidFill>
                <a:latin typeface="Futura PT Heavy" panose="020B0802020204020303" pitchFamily="34" charset="0"/>
              </a:defRPr>
            </a:lvl1pPr>
          </a:lstStyle>
          <a:p>
            <a:pPr marL="0" lvl="0" algn="l"/>
            <a:r>
              <a:rPr lang="en-US"/>
              <a:t>Click to edit Master title style</a:t>
            </a:r>
          </a:p>
        </p:txBody>
      </p:sp>
      <p:sp>
        <p:nvSpPr>
          <p:cNvPr id="11" name="Text Placeholder 11">
            <a:extLst>
              <a:ext uri="{FF2B5EF4-FFF2-40B4-BE49-F238E27FC236}">
                <a16:creationId xmlns:a16="http://schemas.microsoft.com/office/drawing/2014/main" id="{B24EF64A-9F56-40BB-A4AD-D4B2CC4E9339}"/>
              </a:ext>
            </a:extLst>
          </p:cNvPr>
          <p:cNvSpPr>
            <a:spLocks noGrp="1"/>
          </p:cNvSpPr>
          <p:nvPr>
            <p:ph type="body" sz="quarter" idx="11" hasCustomPrompt="1"/>
          </p:nvPr>
        </p:nvSpPr>
        <p:spPr>
          <a:xfrm>
            <a:off x="400050" y="3783717"/>
            <a:ext cx="6696075" cy="323165"/>
          </a:xfrm>
          <a:prstGeom prst="rect">
            <a:avLst/>
          </a:prstGeom>
        </p:spPr>
        <p:txBody>
          <a:bodyPr vert="horz" wrap="square" lIns="0" tIns="0" rIns="0" bIns="0" rtlCol="0">
            <a:noAutofit/>
          </a:bodyPr>
          <a:lstStyle>
            <a:lvl1pPr>
              <a:defRPr lang="en-US" sz="2100" dirty="0" smtClean="0">
                <a:solidFill>
                  <a:schemeClr val="bg1"/>
                </a:solidFill>
                <a:latin typeface="Futura PT Medium" panose="020B0602020204020303" pitchFamily="34" charset="0"/>
              </a:defRPr>
            </a:lvl1pPr>
          </a:lstStyle>
          <a:p>
            <a:pPr lvl="0"/>
            <a:r>
              <a:rPr lang="en-US"/>
              <a:t>Click to edit Master subtitle style</a:t>
            </a:r>
          </a:p>
        </p:txBody>
      </p:sp>
      <p:sp>
        <p:nvSpPr>
          <p:cNvPr id="12" name="Text Placeholder 48">
            <a:extLst>
              <a:ext uri="{FF2B5EF4-FFF2-40B4-BE49-F238E27FC236}">
                <a16:creationId xmlns:a16="http://schemas.microsoft.com/office/drawing/2014/main" id="{712753D9-07A7-4EC5-B845-4D90FAB97A5D}"/>
              </a:ext>
            </a:extLst>
          </p:cNvPr>
          <p:cNvSpPr>
            <a:spLocks noGrp="1"/>
          </p:cNvSpPr>
          <p:nvPr>
            <p:ph type="body" sz="quarter" idx="10" hasCustomPrompt="1"/>
          </p:nvPr>
        </p:nvSpPr>
        <p:spPr>
          <a:xfrm>
            <a:off x="400050" y="4277141"/>
            <a:ext cx="6696075" cy="207749"/>
          </a:xfrm>
          <a:prstGeom prst="rect">
            <a:avLst/>
          </a:prstGeom>
        </p:spPr>
        <p:txBody>
          <a:bodyPr vert="horz" wrap="square" lIns="0" tIns="0" rIns="0" bIns="0" rtlCol="0">
            <a:spAutoFit/>
          </a:bodyPr>
          <a:lstStyle>
            <a:lvl1pPr>
              <a:defRPr lang="en-US" sz="1500" dirty="0">
                <a:solidFill>
                  <a:schemeClr val="bg1"/>
                </a:solidFill>
                <a:latin typeface="Futura PT Medium" panose="020B0602020204020303" pitchFamily="34" charset="0"/>
              </a:defRPr>
            </a:lvl1pPr>
          </a:lstStyle>
          <a:p>
            <a:pPr lvl="0"/>
            <a:r>
              <a:rPr lang="en-US"/>
              <a:t>Document type | Date</a:t>
            </a:r>
          </a:p>
        </p:txBody>
      </p:sp>
      <p:sp>
        <p:nvSpPr>
          <p:cNvPr id="13" name="Picture Placeholder 4">
            <a:extLst>
              <a:ext uri="{FF2B5EF4-FFF2-40B4-BE49-F238E27FC236}">
                <a16:creationId xmlns:a16="http://schemas.microsoft.com/office/drawing/2014/main" id="{3C5CC668-BE76-4CC5-80CF-2AEB0F02706D}"/>
              </a:ext>
            </a:extLst>
          </p:cNvPr>
          <p:cNvSpPr>
            <a:spLocks noGrp="1"/>
          </p:cNvSpPr>
          <p:nvPr>
            <p:ph type="pic" sz="quarter" idx="12" hasCustomPrompt="1"/>
          </p:nvPr>
        </p:nvSpPr>
        <p:spPr>
          <a:xfrm>
            <a:off x="7543800" y="3884086"/>
            <a:ext cx="1428750" cy="623888"/>
          </a:xfrm>
          <a:prstGeom prst="rect">
            <a:avLst/>
          </a:prstGeom>
        </p:spPr>
        <p:txBody>
          <a:bodyPr>
            <a:normAutofit/>
          </a:bodyPr>
          <a:lstStyle>
            <a:lvl1pPr>
              <a:defRPr sz="1650">
                <a:solidFill>
                  <a:schemeClr val="bg1"/>
                </a:solidFill>
              </a:defRPr>
            </a:lvl1pPr>
          </a:lstStyle>
          <a:p>
            <a:r>
              <a:rPr lang="en-US"/>
              <a:t>Client Logo</a:t>
            </a:r>
          </a:p>
        </p:txBody>
      </p:sp>
      <p:grpSp>
        <p:nvGrpSpPr>
          <p:cNvPr id="14" name="Group 13">
            <a:extLst>
              <a:ext uri="{FF2B5EF4-FFF2-40B4-BE49-F238E27FC236}">
                <a16:creationId xmlns:a16="http://schemas.microsoft.com/office/drawing/2014/main" id="{C5AAABFA-9FC9-4FC3-9F82-7C35E80F2CA7}"/>
              </a:ext>
            </a:extLst>
          </p:cNvPr>
          <p:cNvGrpSpPr/>
          <p:nvPr userDrawn="1"/>
        </p:nvGrpSpPr>
        <p:grpSpPr>
          <a:xfrm>
            <a:off x="7400925" y="2207976"/>
            <a:ext cx="1696028" cy="796585"/>
            <a:chOff x="9867900" y="2943967"/>
            <a:chExt cx="2261370" cy="1062113"/>
          </a:xfrm>
        </p:grpSpPr>
        <p:pic>
          <p:nvPicPr>
            <p:cNvPr id="15" name="Picture 14" descr="A picture containing text, device, gauge, meter&#10;&#10;Description automatically generated">
              <a:extLst>
                <a:ext uri="{FF2B5EF4-FFF2-40B4-BE49-F238E27FC236}">
                  <a16:creationId xmlns:a16="http://schemas.microsoft.com/office/drawing/2014/main" id="{811CD43D-C14E-4288-B317-AE82378D586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6" name="Picture 15">
              <a:extLst>
                <a:ext uri="{FF2B5EF4-FFF2-40B4-BE49-F238E27FC236}">
                  <a16:creationId xmlns:a16="http://schemas.microsoft.com/office/drawing/2014/main" id="{5A03B5EE-D6D0-47B8-AACB-A140E26FF8B3}"/>
                </a:ext>
              </a:extLst>
            </p:cNvPr>
            <p:cNvPicPr>
              <a:picLocks noChangeAspect="1"/>
            </p:cNvPicPr>
            <p:nvPr userDrawn="1"/>
          </p:nvPicPr>
          <p:blipFill rotWithShape="1">
            <a:blip r:embed="rId5"/>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1705084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9962C6B-97B7-4A3F-A745-927A5993228C}"/>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538C35F0-668F-4C51-B5ED-925DB0D73B9A}"/>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FFEC0E-325B-4AC8-B200-560BBAE07FBA}"/>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57CDA357-23F5-4A53-9F05-7A1794C5D04E}"/>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D1A20FE6-FD32-4E0E-9649-476D81C9507E}"/>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E4489451-4D7D-4AE4-9A2D-922D8CB9BC12}"/>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6CE65A7E-D50C-48EC-8485-CAAAC6E8875A}"/>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22EAA96D-589C-48C7-9039-9F3D102B83D4}"/>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A63FEE8B-6311-4B82-9FD5-EF15316512FB}"/>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2D546A6-7EA6-45EB-9981-56400A112DC7}"/>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BD64DB9F-BB91-456D-B12F-BD03B9FC8CC8}"/>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0092C18A-978C-4558-8733-8BEB29F2C8C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A434CFD-15BD-4A84-A988-D78B2A99E6FD}"/>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E7E0CA17-09C8-4421-A17F-F7150CA8363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6894D6D0-8C5F-4C32-AE02-688F3D5F1361}"/>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DEBAE9A3-D44D-480C-AB57-496F2C097E5F}"/>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E6921006-2709-46D3-97C8-C82F4AD58F95}"/>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EEF87675-C2C9-4EAA-9B6B-32065F095324}"/>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D4BF622-BE31-4D3F-88CA-E5A1B0798B83}"/>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5B3FF8B8-8E78-4271-A534-4D183F36942D}"/>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A90811F2-A508-4ABD-ACED-3D6EB2A47B7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86FB4588-DBB7-4D69-AF4A-A3A18F15F10F}"/>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8B84EFE9-E30A-4936-A2B0-DF8F0B8245CC}"/>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D72F25-2CE5-4784-A808-C59DBF2969EC}"/>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565D6123-3BDA-4729-8D12-36E6EA807281}"/>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75983195-3A14-48C9-8B70-C6A58FDE0F2E}"/>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FE2F51AE-EEE0-4202-B549-13F2BE8B690D}"/>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9E6BECE1-AD03-4BDD-851A-15E303BB9B6B}"/>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EC6DF778-B6B6-4839-9AB9-67782E681139}"/>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55B026B0-850C-4941-A8A7-4E14D7C729A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B5A17B28-41FB-458E-A49C-279B90026C6C}"/>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9B43E33A-8E6A-4161-8EAB-254A2F4AACF1}"/>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8E175D8-1A38-46DB-9F49-22FCF98818A8}"/>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77B46E55-37A5-44C8-8290-9A16C8758D93}"/>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C801B3AF-7921-4E0E-9D27-43E42F1ECE06}"/>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A459FB25-0299-4C48-BC06-8F148EA7D315}"/>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52A717B4-5525-4BF0-8168-9C73D8F23F4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5F84CCDF-75E1-4321-B8E4-DE0231D6D5FF}"/>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222D565F-029E-4709-BA21-79A981D71CB9}"/>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A7B6C78-991B-41C3-A812-8AD63171D00E}"/>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531F1BE1-F427-4F99-9DB3-FAFBAE3E1820}"/>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03D54E43-57F1-498F-A15D-7E12A4D29A04}"/>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720A8ABA-286B-477E-A49A-DC9E36DA3EFA}"/>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9588560E-2A24-46F7-8BEC-E285DEB123FD}"/>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4A3C652-3D8C-4483-9266-F89EB22FB0C7}"/>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BAA68DF3-884C-445D-B9B6-F2C7FAA997E0}"/>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E0EA9226-E8E6-4B85-A679-143BB9AF62EF}"/>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4628D86A-10E3-4A6B-9DF9-3DAFA6F8D0C8}"/>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DC65D844-534B-423D-94AA-4EEA662B01F1}"/>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3BED3B9B-19B8-4599-95EE-60418112335A}"/>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0F60622-5B49-4B9D-AF9C-09282E84DA22}"/>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5D25031D-B863-45CD-90AA-D70034C227E7}"/>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9825AAA5-FAD0-4B11-A9F0-37353B5F3992}"/>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79F4D9AD-D006-4D10-8ADD-00BC43CA9CD8}"/>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AAC0B335-7BC7-48C5-AEDC-FEA8F853675F}"/>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34DA7E5-59BC-4213-BF0D-851397BF0443}"/>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DF90EE1-2F14-4210-8017-2EABD6B16460}"/>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9398CDB9-A1CF-4BD7-B4B0-7CBF9D06034C}"/>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C30D31E1-F5EC-4C91-9EAD-DB5A4198D97A}"/>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5BFD3A34-FBDC-4C75-BBB2-A401415B252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3845307C-560F-403A-A3D5-628F76C57348}"/>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B58AF3C8-44DF-42F8-BE3F-7A5F3EBA3E7E}"/>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BD994FBC-7DAD-4472-87FE-D9B6E7AA7ECF}"/>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83174"/>
            <a:ext cx="7949476"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0" name="Straight Connector 69">
            <a:extLst>
              <a:ext uri="{FF2B5EF4-FFF2-40B4-BE49-F238E27FC236}">
                <a16:creationId xmlns:a16="http://schemas.microsoft.com/office/drawing/2014/main" id="{E83CFB56-03D7-43FB-AED1-71E05D085A24}"/>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396172A8-1D69-4D0A-B528-1A57191A325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2" name="Rectangle 71">
              <a:extLst>
                <a:ext uri="{FF2B5EF4-FFF2-40B4-BE49-F238E27FC236}">
                  <a16:creationId xmlns:a16="http://schemas.microsoft.com/office/drawing/2014/main" id="{0445D9F8-D0FC-4FF8-9EDF-87E886C99829}"/>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3" name="Rectangle 72">
              <a:extLst>
                <a:ext uri="{FF2B5EF4-FFF2-40B4-BE49-F238E27FC236}">
                  <a16:creationId xmlns:a16="http://schemas.microsoft.com/office/drawing/2014/main" id="{28A9E293-DA88-46C4-BD48-2B43B14FC411}"/>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4" name="Rectangle 73">
              <a:extLst>
                <a:ext uri="{FF2B5EF4-FFF2-40B4-BE49-F238E27FC236}">
                  <a16:creationId xmlns:a16="http://schemas.microsoft.com/office/drawing/2014/main" id="{DD3B5580-8227-4079-8B82-C631FE97EAF6}"/>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5" name="Rectangle 74">
              <a:extLst>
                <a:ext uri="{FF2B5EF4-FFF2-40B4-BE49-F238E27FC236}">
                  <a16:creationId xmlns:a16="http://schemas.microsoft.com/office/drawing/2014/main" id="{69CF5E0C-48F0-4A24-ABDE-3D69C62A0BBA}"/>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76" name="Straight Connector 75">
            <a:extLst>
              <a:ext uri="{FF2B5EF4-FFF2-40B4-BE49-F238E27FC236}">
                <a16:creationId xmlns:a16="http://schemas.microsoft.com/office/drawing/2014/main" id="{C8EA73BF-15C6-4BFD-A7D6-2C45764FFE2B}"/>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Footer Placeholder 8">
            <a:extLst>
              <a:ext uri="{FF2B5EF4-FFF2-40B4-BE49-F238E27FC236}">
                <a16:creationId xmlns:a16="http://schemas.microsoft.com/office/drawing/2014/main" id="{52458F2B-5700-4352-8FAF-69F075D70F76}"/>
              </a:ext>
            </a:extLst>
          </p:cNvPr>
          <p:cNvSpPr>
            <a:spLocks noGrp="1"/>
          </p:cNvSpPr>
          <p:nvPr>
            <p:ph type="ftr" sz="quarter" idx="11"/>
          </p:nvPr>
        </p:nvSpPr>
        <p:spPr>
          <a:xfrm>
            <a:off x="1054593" y="4732021"/>
            <a:ext cx="7105711" cy="132923"/>
          </a:xfrm>
        </p:spPr>
        <p:txBody>
          <a:bodyPr lIns="0" tIns="0" rIns="0" bIns="0"/>
          <a:lstStyle>
            <a:lvl1pPr algn="l">
              <a:defRPr sz="750">
                <a:solidFill>
                  <a:schemeClr val="tx1"/>
                </a:solidFill>
                <a:latin typeface="Futura PT Light" panose="020B0402020204020303" pitchFamily="34" charset="0"/>
              </a:defRPr>
            </a:lvl1pPr>
          </a:lstStyle>
          <a:p>
            <a:r>
              <a:rPr lang="en-US"/>
              <a:t>Sourc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3333233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4718FE6-96F9-489A-B27A-E8E836E620F1}"/>
              </a:ext>
            </a:extLst>
          </p:cNvPr>
          <p:cNvSpPr>
            <a:spLocks noGrp="1"/>
          </p:cNvSpPr>
          <p:nvPr>
            <p:ph type="title"/>
          </p:nvPr>
        </p:nvSpPr>
        <p:spPr>
          <a:xfrm>
            <a:off x="210829" y="383174"/>
            <a:ext cx="8722343"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BDEE49AD-E4C5-48B8-9F5C-1BA8C36566DE}"/>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A60752C-A27A-4BD5-BB04-F0B380200238}"/>
              </a:ext>
            </a:extLst>
          </p:cNvPr>
          <p:cNvCxnSpPr>
            <a:cxnSpLocks/>
          </p:cNvCxnSpPr>
          <p:nvPr userDrawn="1"/>
        </p:nvCxnSpPr>
        <p:spPr>
          <a:xfrm>
            <a:off x="210829" y="1228725"/>
            <a:ext cx="872234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A67D8F7-6A95-4C06-B178-AE35CBE6961F}"/>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0BF44635-C1D7-4637-AED5-C5BE4F5D01E6}"/>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72824E7D-7D44-4BD6-90A7-3BC4DA5A6D07}"/>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9C7E3724-40C3-421E-A33D-F0279C215AAE}"/>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0FA0C5E1-78D8-4EA8-BBE7-79D05FF4B24F}"/>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pic>
        <p:nvPicPr>
          <p:cNvPr id="16" name="Picture 15">
            <a:extLst>
              <a:ext uri="{FF2B5EF4-FFF2-40B4-BE49-F238E27FC236}">
                <a16:creationId xmlns:a16="http://schemas.microsoft.com/office/drawing/2014/main" id="{449112FB-3D3D-4E20-808C-40BA00730E98}"/>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31771389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Takeaway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769D00-0E21-444F-A9E2-37734E91745E}"/>
              </a:ext>
            </a:extLst>
          </p:cNvPr>
          <p:cNvSpPr/>
          <p:nvPr userDrawn="1"/>
        </p:nvSpPr>
        <p:spPr>
          <a:xfrm>
            <a:off x="7029450" y="0"/>
            <a:ext cx="2114550" cy="51435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1">
            <a:extLst>
              <a:ext uri="{FF2B5EF4-FFF2-40B4-BE49-F238E27FC236}">
                <a16:creationId xmlns:a16="http://schemas.microsoft.com/office/drawing/2014/main" id="{4F6F23F6-1244-4D00-A9C5-2D795C9A5E21}"/>
              </a:ext>
            </a:extLst>
          </p:cNvPr>
          <p:cNvSpPr>
            <a:spLocks noGrp="1"/>
          </p:cNvSpPr>
          <p:nvPr>
            <p:ph type="title"/>
          </p:nvPr>
        </p:nvSpPr>
        <p:spPr>
          <a:xfrm>
            <a:off x="210829" y="383174"/>
            <a:ext cx="6590021" cy="784830"/>
          </a:xfrm>
        </p:spPr>
        <p:txBody>
          <a:bodyPr wrap="square" anchor="b">
            <a:noAutofit/>
          </a:bodyPr>
          <a:lstStyle>
            <a:lvl1pPr algn="l">
              <a:defRPr sz="2550" b="1">
                <a:latin typeface="Futura PT Heavy" panose="020B0802020204020303" pitchFamily="34"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D6EDD7F1-1566-451A-98EC-412DCF8204D3}"/>
              </a:ext>
            </a:extLst>
          </p:cNvPr>
          <p:cNvCxnSpPr>
            <a:cxnSpLocks/>
          </p:cNvCxnSpPr>
          <p:nvPr userDrawn="1"/>
        </p:nvCxnSpPr>
        <p:spPr>
          <a:xfrm>
            <a:off x="210829" y="1228725"/>
            <a:ext cx="659002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4B04855-EFEF-46ED-B66C-908670AD7C81}"/>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5A900E0B-5168-49FD-925F-FA3B3386C266}"/>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7EBF4189-6AF4-4A74-831D-677C821DF54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0B42DCC-0744-4ADC-BD1B-BE0996F26625}"/>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ABCEAD8A-FEC4-4651-BFA2-169C58896052}"/>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6" name="Straight Connector 15">
            <a:extLst>
              <a:ext uri="{FF2B5EF4-FFF2-40B4-BE49-F238E27FC236}">
                <a16:creationId xmlns:a16="http://schemas.microsoft.com/office/drawing/2014/main" id="{7F658A63-C9B5-4751-99DE-BEE12E08CDF0}"/>
              </a:ext>
            </a:extLst>
          </p:cNvPr>
          <p:cNvCxnSpPr>
            <a:cxnSpLocks/>
          </p:cNvCxnSpPr>
          <p:nvPr userDrawn="1"/>
        </p:nvCxnSpPr>
        <p:spPr>
          <a:xfrm>
            <a:off x="1054594" y="4948338"/>
            <a:ext cx="5764028" cy="1083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F6FF197-9AE9-4207-A0D1-21C39883B324}"/>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4223374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AE8C89FA-FA51-47E5-AE57-9AFAB4A12A9A}"/>
              </a:ext>
            </a:extLst>
          </p:cNvPr>
          <p:cNvSpPr>
            <a:spLocks noGrp="1"/>
          </p:cNvSpPr>
          <p:nvPr>
            <p:ph type="pic" sz="quarter" idx="10"/>
          </p:nvPr>
        </p:nvSpPr>
        <p:spPr>
          <a:xfrm>
            <a:off x="0" y="0"/>
            <a:ext cx="9144000" cy="3028950"/>
          </a:xfrm>
          <a:prstGeom prst="rect">
            <a:avLst/>
          </a:prstGeom>
        </p:spPr>
        <p:txBody>
          <a:bodyPr/>
          <a:lstStyle/>
          <a:p>
            <a:endParaRPr lang="en-US"/>
          </a:p>
        </p:txBody>
      </p:sp>
      <p:grpSp>
        <p:nvGrpSpPr>
          <p:cNvPr id="7" name="Group 6">
            <a:extLst>
              <a:ext uri="{FF2B5EF4-FFF2-40B4-BE49-F238E27FC236}">
                <a16:creationId xmlns:a16="http://schemas.microsoft.com/office/drawing/2014/main" id="{634833EA-BE1E-47F6-9AE8-653BAB58BFF9}"/>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8" name="Rectangle 7">
              <a:extLst>
                <a:ext uri="{FF2B5EF4-FFF2-40B4-BE49-F238E27FC236}">
                  <a16:creationId xmlns:a16="http://schemas.microsoft.com/office/drawing/2014/main" id="{0C2F1736-E5B8-42E3-8EFD-F11CC9979F75}"/>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9" name="Rectangle 8">
              <a:extLst>
                <a:ext uri="{FF2B5EF4-FFF2-40B4-BE49-F238E27FC236}">
                  <a16:creationId xmlns:a16="http://schemas.microsoft.com/office/drawing/2014/main" id="{B86745B0-7687-4E5D-843F-6C5B64D39E8C}"/>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0" name="Rectangle 9">
              <a:extLst>
                <a:ext uri="{FF2B5EF4-FFF2-40B4-BE49-F238E27FC236}">
                  <a16:creationId xmlns:a16="http://schemas.microsoft.com/office/drawing/2014/main" id="{C1CD58BD-979F-4EC5-AE0B-E2F80FCA7425}"/>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1" name="Rectangle 10">
              <a:extLst>
                <a:ext uri="{FF2B5EF4-FFF2-40B4-BE49-F238E27FC236}">
                  <a16:creationId xmlns:a16="http://schemas.microsoft.com/office/drawing/2014/main" id="{0A35DE0B-D10F-4430-9F27-E0B7A8401BD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
        <p:nvSpPr>
          <p:cNvPr id="12" name="Rectangle 11">
            <a:extLst>
              <a:ext uri="{FF2B5EF4-FFF2-40B4-BE49-F238E27FC236}">
                <a16:creationId xmlns:a16="http://schemas.microsoft.com/office/drawing/2014/main" id="{F6CF2092-4423-451B-8B68-8508767FD795}"/>
              </a:ext>
            </a:extLst>
          </p:cNvPr>
          <p:cNvSpPr/>
          <p:nvPr userDrawn="1"/>
        </p:nvSpPr>
        <p:spPr>
          <a:xfrm>
            <a:off x="0" y="3028950"/>
            <a:ext cx="9144000" cy="2114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itle 1">
            <a:extLst>
              <a:ext uri="{FF2B5EF4-FFF2-40B4-BE49-F238E27FC236}">
                <a16:creationId xmlns:a16="http://schemas.microsoft.com/office/drawing/2014/main" id="{D5CD0D35-2BE5-4E4B-84EB-7EC8F2361150}"/>
              </a:ext>
            </a:extLst>
          </p:cNvPr>
          <p:cNvSpPr>
            <a:spLocks noGrp="1"/>
          </p:cNvSpPr>
          <p:nvPr>
            <p:ph type="title"/>
          </p:nvPr>
        </p:nvSpPr>
        <p:spPr>
          <a:xfrm>
            <a:off x="210829" y="3204255"/>
            <a:ext cx="7949476" cy="784830"/>
          </a:xfrm>
        </p:spPr>
        <p:txBody>
          <a:bodyPr wrap="square" anchor="ctr">
            <a:noAutofit/>
          </a:bodyPr>
          <a:lstStyle>
            <a:lvl1pPr algn="l">
              <a:defRPr sz="2550" b="1">
                <a:solidFill>
                  <a:schemeClr val="bg1"/>
                </a:solidFill>
                <a:latin typeface="Futura PT Heavy" panose="020B0802020204020303" pitchFamily="34" charset="0"/>
              </a:defRPr>
            </a:lvl1pPr>
          </a:lstStyle>
          <a:p>
            <a:r>
              <a:rPr lang="en-US"/>
              <a:t>Click to edit Master title style</a:t>
            </a:r>
          </a:p>
        </p:txBody>
      </p:sp>
      <p:pic>
        <p:nvPicPr>
          <p:cNvPr id="14" name="Picture 13">
            <a:extLst>
              <a:ext uri="{FF2B5EF4-FFF2-40B4-BE49-F238E27FC236}">
                <a16:creationId xmlns:a16="http://schemas.microsoft.com/office/drawing/2014/main" id="{8532104B-F93F-4ECE-AE74-5C5BCFA8E1BB}"/>
              </a:ext>
            </a:extLst>
          </p:cNvPr>
          <p:cNvPicPr>
            <a:picLocks noChangeAspect="1"/>
          </p:cNvPicPr>
          <p:nvPr userDrawn="1"/>
        </p:nvPicPr>
        <p:blipFill rotWithShape="1">
          <a:blip r:embed="rId2">
            <a:biLevel thresh="25000"/>
          </a:blip>
          <a:srcRect t="4060"/>
          <a:stretch/>
        </p:blipFill>
        <p:spPr>
          <a:xfrm>
            <a:off x="166482" y="4654115"/>
            <a:ext cx="856504" cy="406651"/>
          </a:xfrm>
          <a:prstGeom prst="rect">
            <a:avLst/>
          </a:prstGeom>
        </p:spPr>
      </p:pic>
    </p:spTree>
    <p:extLst>
      <p:ext uri="{BB962C8B-B14F-4D97-AF65-F5344CB8AC3E}">
        <p14:creationId xmlns:p14="http://schemas.microsoft.com/office/powerpoint/2010/main" val="3119556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0042B70-13A2-4E51-BF2C-90769008FF8D}"/>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1E7A3867-E20B-421A-BC7D-51AA66284554}"/>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30BE8434-C18D-43DE-8548-8439D78F53AE}"/>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3C626DED-67A4-4322-8C8E-EC971C906864}"/>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A3CC166B-DC25-4CB6-8A6C-0C33CE6B07E8}"/>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3971116E-B7E8-4936-831E-A2F417D37325}"/>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4344F9E9-D694-49C9-A17E-802A65E30A70}"/>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7B980E08-5C1D-40F6-B095-3AEEAA73574C}"/>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0D7740FA-60AE-4A34-B451-785188C30FA6}"/>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F9744CA9-392F-44A4-8EF9-689BF10BB0C3}"/>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F78BF365-225E-437A-8A73-06EF49761DAF}"/>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9043C8BB-17B1-44ED-A99C-C2397F191D3C}"/>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4209B90D-515D-4FB3-9A1C-EAA440626D25}"/>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C42047D1-3CEF-4FB7-8CC7-A70C2EB130E7}"/>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DD020D5C-6597-488F-9748-1CDC4B1345D0}"/>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EC794BAD-B961-4117-BBAA-6A53650D00E7}"/>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F1D9B4BC-CB42-4776-BD22-555253F30EFC}"/>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3A41700C-8584-49D9-A23A-74B361DAED2E}"/>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5F73067D-A421-4D8E-A9B9-E0FA48343320}"/>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6315EC6B-B213-4B4B-B370-22ABCD2CD5BC}"/>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560415F0-A71F-4FD4-9639-CD39F2BD5416}"/>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CB8199C9-E5A1-4D2E-8122-E9C0C25A60B1}"/>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E01FF23C-C971-4BF8-84F4-D0622C302D4A}"/>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F1B76288-CB8F-4409-A020-415F350177B6}"/>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0524E820-459D-4316-A4A0-08174839EC6D}"/>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AB5BACF0-148A-4E42-95DD-FDB4EAFC7DF6}"/>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519FC7FD-3056-4E4F-9BD5-0B8F3E4DE265}"/>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460878ED-5926-4B40-9342-359E917C5B26}"/>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C077BF71-044B-423E-B940-2964ACFEF407}"/>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B62FD22F-7C1E-404C-B5A8-B9B751B51B4D}"/>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2518BA7C-B61D-4520-86EB-E65D215399C6}"/>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8DD0DC5D-1E3B-4D81-8F93-EA8DF936DDA6}"/>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66C5E5E-BCF7-48C1-88C2-940EDAA597D0}"/>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1843E2AC-DBFD-4126-9D28-5D8C3E27DB17}"/>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282D38E5-4BFF-4DEB-B000-511BB9C4DF21}"/>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7810D4F3-2055-4DDD-A662-ED1A85505346}"/>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161C0CB7-C0D4-4694-91A7-10E6D0A12E5A}"/>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B920A637-8DF9-4000-BB7C-9B78CAA2CF10}"/>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56E9FAB5-0B2A-4802-9E18-12AA92EBA147}"/>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BCEB7334-37A0-4462-9C56-B1BFA11B0190}"/>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D397ED11-BAF0-4FCC-9A6E-541FCE962B73}"/>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F8707187-E45F-447C-BFFC-B54F853FF051}"/>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C3F414F1-C59F-4737-9815-FAC1D9C176AF}"/>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D37B6706-9FB5-4CB2-B6AE-30A1627A5A54}"/>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C1938C57-D44C-47B7-AA89-06965DC3C0FF}"/>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E4A5E60A-4E23-4F5B-832A-F2750D798F51}"/>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5C2C6066-026C-4856-A627-C83840950670}"/>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FBB04AA7-BF04-4252-BCBA-6C751BC7DAA4}"/>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7A3097FE-298B-4A24-8A99-D3A7EDF4DE82}"/>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B43A4865-C20E-4FF3-9FA0-FA2CF1436959}"/>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4FBCB247-43C2-4FAE-876F-7BE4C0DFCDD1}"/>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9F6B9D4C-0DE0-4AF1-A882-562AB9233E59}"/>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5FF03D8F-0663-42EC-90AB-C912CB77372D}"/>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84B8CF48-C7DE-4532-8803-4300EF7F04C4}"/>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D7B28A85-1A56-4303-AB82-9EE6EFB219A7}"/>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E84FD1FF-E64C-4E3F-9011-AAC1F609B151}"/>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9883FD3D-2AE7-454C-BEAF-A5B4537E3DC2}"/>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3318D845-9E5D-4DA6-A3F7-7E26F854E497}"/>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4839975B-019F-421E-A878-AC559B170D1E}"/>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6944F90C-7AFD-47F9-869F-9D6E13CC16E2}"/>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1D6FB1AF-72D4-49FC-8FEE-936F7443DB99}"/>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D96FF4F7-73ED-4C0F-B198-C1523F66E8E9}"/>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1CC507BF-5BEF-444A-B587-119402A57221}"/>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cxnSp>
        <p:nvCxnSpPr>
          <p:cNvPr id="69" name="Straight Connector 68">
            <a:extLst>
              <a:ext uri="{FF2B5EF4-FFF2-40B4-BE49-F238E27FC236}">
                <a16:creationId xmlns:a16="http://schemas.microsoft.com/office/drawing/2014/main" id="{4E0FC5E5-336A-44CA-9FD3-4BEAB7EF5ECA}"/>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18DC60EA-3F15-4C32-8212-7705408A04EA}"/>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Tree>
    <p:extLst>
      <p:ext uri="{BB962C8B-B14F-4D97-AF65-F5344CB8AC3E}">
        <p14:creationId xmlns:p14="http://schemas.microsoft.com/office/powerpoint/2010/main" val="807756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F5709-9A70-4100-8662-B0C1437253C9}"/>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9" name="Title 1">
            <a:extLst>
              <a:ext uri="{FF2B5EF4-FFF2-40B4-BE49-F238E27FC236}">
                <a16:creationId xmlns:a16="http://schemas.microsoft.com/office/drawing/2014/main" id="{55F9965E-B07F-44C6-8C42-48DF98D099C8}"/>
              </a:ext>
            </a:extLst>
          </p:cNvPr>
          <p:cNvSpPr>
            <a:spLocks noGrp="1"/>
          </p:cNvSpPr>
          <p:nvPr>
            <p:ph type="title"/>
          </p:nvPr>
        </p:nvSpPr>
        <p:spPr>
          <a:xfrm>
            <a:off x="210829" y="476250"/>
            <a:ext cx="8722343" cy="416927"/>
          </a:xfrm>
        </p:spPr>
        <p:txBody>
          <a:bodyPr wrap="square" anchor="t">
            <a:noAutofit/>
          </a:bodyPr>
          <a:lstStyle>
            <a:lvl1pPr algn="l">
              <a:defRPr sz="2550" b="1">
                <a:latin typeface="+mj-lt"/>
              </a:defRPr>
            </a:lvl1pPr>
          </a:lstStyle>
          <a:p>
            <a:r>
              <a:rPr lang="en-US"/>
              <a:t>Click to edit Master title style</a:t>
            </a:r>
          </a:p>
        </p:txBody>
      </p:sp>
      <p:grpSp>
        <p:nvGrpSpPr>
          <p:cNvPr id="10" name="Group 9">
            <a:extLst>
              <a:ext uri="{FF2B5EF4-FFF2-40B4-BE49-F238E27FC236}">
                <a16:creationId xmlns:a16="http://schemas.microsoft.com/office/drawing/2014/main" id="{2A81E10E-90C9-4324-9A53-272C790A151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1" name="Rectangle 10">
              <a:extLst>
                <a:ext uri="{FF2B5EF4-FFF2-40B4-BE49-F238E27FC236}">
                  <a16:creationId xmlns:a16="http://schemas.microsoft.com/office/drawing/2014/main" id="{29F8B364-955F-4855-A046-DF75E693B99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2" name="Rectangle 11">
              <a:extLst>
                <a:ext uri="{FF2B5EF4-FFF2-40B4-BE49-F238E27FC236}">
                  <a16:creationId xmlns:a16="http://schemas.microsoft.com/office/drawing/2014/main" id="{D25B54CD-54BB-4D16-98B4-EDC117050838}"/>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F236C5FA-E6F4-4EC4-9E56-A05A1570ABA8}"/>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4" name="Rectangle 13">
              <a:extLst>
                <a:ext uri="{FF2B5EF4-FFF2-40B4-BE49-F238E27FC236}">
                  <a16:creationId xmlns:a16="http://schemas.microsoft.com/office/drawing/2014/main" id="{5D822D0E-43F5-40C1-AF35-17B56B0914BD}"/>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cxnSp>
        <p:nvCxnSpPr>
          <p:cNvPr id="15" name="Straight Connector 14">
            <a:extLst>
              <a:ext uri="{FF2B5EF4-FFF2-40B4-BE49-F238E27FC236}">
                <a16:creationId xmlns:a16="http://schemas.microsoft.com/office/drawing/2014/main" id="{C099D8C4-E9F9-4F36-9D0A-0B8D57713209}"/>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3346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16" name="Picture 15" descr="A close-up of people shaking hands&#10;&#10;Description automatically generated with medium confidence">
            <a:extLst>
              <a:ext uri="{FF2B5EF4-FFF2-40B4-BE49-F238E27FC236}">
                <a16:creationId xmlns:a16="http://schemas.microsoft.com/office/drawing/2014/main" id="{A48F749C-A16F-47F7-83A9-46CB51A6B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54886" cy="5143500"/>
          </a:xfrm>
          <a:prstGeom prst="rect">
            <a:avLst/>
          </a:prstGeom>
        </p:spPr>
      </p:pic>
      <p:sp>
        <p:nvSpPr>
          <p:cNvPr id="10" name="Rectangle 9">
            <a:extLst>
              <a:ext uri="{FF2B5EF4-FFF2-40B4-BE49-F238E27FC236}">
                <a16:creationId xmlns:a16="http://schemas.microsoft.com/office/drawing/2014/main" id="{F237A4C7-D77A-4C51-B596-384D7FE21531}"/>
              </a:ext>
            </a:extLst>
          </p:cNvPr>
          <p:cNvSpPr/>
          <p:nvPr userDrawn="1"/>
        </p:nvSpPr>
        <p:spPr>
          <a:xfrm>
            <a:off x="-1" y="1"/>
            <a:ext cx="9154886" cy="5143499"/>
          </a:xfrm>
          <a:prstGeom prst="rect">
            <a:avLst/>
          </a:prstGeom>
          <a:solidFill>
            <a:schemeClr val="tx1">
              <a:lumMod val="95000"/>
              <a:lumOff val="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a:solidFill>
                <a:schemeClr val="bg1"/>
              </a:solidFill>
            </a:endParaRPr>
          </a:p>
        </p:txBody>
      </p:sp>
      <p:sp>
        <p:nvSpPr>
          <p:cNvPr id="18" name="Freeform: Shape 17">
            <a:extLst>
              <a:ext uri="{FF2B5EF4-FFF2-40B4-BE49-F238E27FC236}">
                <a16:creationId xmlns:a16="http://schemas.microsoft.com/office/drawing/2014/main" id="{908EA53E-CB7B-4E9A-878B-4F9FAF9B3F3A}"/>
              </a:ext>
            </a:extLst>
          </p:cNvPr>
          <p:cNvSpPr/>
          <p:nvPr userDrawn="1"/>
        </p:nvSpPr>
        <p:spPr>
          <a:xfrm>
            <a:off x="-1" y="3486150"/>
            <a:ext cx="6115052" cy="1028700"/>
          </a:xfrm>
          <a:custGeom>
            <a:avLst/>
            <a:gdLst>
              <a:gd name="connsiteX0" fmla="*/ 0 w 8153403"/>
              <a:gd name="connsiteY0" fmla="*/ 0 h 1371600"/>
              <a:gd name="connsiteX1" fmla="*/ 8153403 w 8153403"/>
              <a:gd name="connsiteY1" fmla="*/ 0 h 1371600"/>
              <a:gd name="connsiteX2" fmla="*/ 7447646 w 8153403"/>
              <a:gd name="connsiteY2" fmla="*/ 1371600 h 1371600"/>
              <a:gd name="connsiteX3" fmla="*/ 0 w 8153403"/>
              <a:gd name="connsiteY3" fmla="*/ 1371600 h 1371600"/>
            </a:gdLst>
            <a:ahLst/>
            <a:cxnLst>
              <a:cxn ang="0">
                <a:pos x="connsiteX0" y="connsiteY0"/>
              </a:cxn>
              <a:cxn ang="0">
                <a:pos x="connsiteX1" y="connsiteY1"/>
              </a:cxn>
              <a:cxn ang="0">
                <a:pos x="connsiteX2" y="connsiteY2"/>
              </a:cxn>
              <a:cxn ang="0">
                <a:pos x="connsiteX3" y="connsiteY3"/>
              </a:cxn>
            </a:cxnLst>
            <a:rect l="l" t="t" r="r" b="b"/>
            <a:pathLst>
              <a:path w="8153403" h="1371600">
                <a:moveTo>
                  <a:pt x="0" y="0"/>
                </a:moveTo>
                <a:lnTo>
                  <a:pt x="8153403" y="0"/>
                </a:lnTo>
                <a:lnTo>
                  <a:pt x="7447646" y="1371600"/>
                </a:lnTo>
                <a:lnTo>
                  <a:pt x="0" y="1371600"/>
                </a:lnTo>
                <a:close/>
              </a:path>
            </a:pathLst>
          </a:cu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4500">
                <a:solidFill>
                  <a:schemeClr val="bg1"/>
                </a:solidFill>
                <a:latin typeface="Futura PT Heavy" panose="020B0802020204020303" pitchFamily="34" charset="0"/>
              </a:rPr>
              <a:t>Thank You</a:t>
            </a:r>
          </a:p>
        </p:txBody>
      </p:sp>
      <p:sp>
        <p:nvSpPr>
          <p:cNvPr id="19" name="Parallelogram 18">
            <a:extLst>
              <a:ext uri="{FF2B5EF4-FFF2-40B4-BE49-F238E27FC236}">
                <a16:creationId xmlns:a16="http://schemas.microsoft.com/office/drawing/2014/main" id="{D62D14E0-DE07-441C-B76D-4AA6290F6692}"/>
              </a:ext>
            </a:extLst>
          </p:cNvPr>
          <p:cNvSpPr/>
          <p:nvPr userDrawn="1"/>
        </p:nvSpPr>
        <p:spPr>
          <a:xfrm>
            <a:off x="5200650" y="3657600"/>
            <a:ext cx="1371599" cy="685800"/>
          </a:xfrm>
          <a:prstGeom prst="parallelogram">
            <a:avLst>
              <a:gd name="adj" fmla="val 514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4500">
              <a:solidFill>
                <a:schemeClr val="bg1"/>
              </a:solidFill>
              <a:latin typeface="Futura PT Light" panose="020B0402020204020303" pitchFamily="34" charset="0"/>
            </a:endParaRPr>
          </a:p>
        </p:txBody>
      </p:sp>
      <p:pic>
        <p:nvPicPr>
          <p:cNvPr id="20" name="Graphic 19">
            <a:extLst>
              <a:ext uri="{FF2B5EF4-FFF2-40B4-BE49-F238E27FC236}">
                <a16:creationId xmlns:a16="http://schemas.microsoft.com/office/drawing/2014/main" id="{F764565F-CDD0-45A5-8610-C184E2341E8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15000" y="3771900"/>
            <a:ext cx="457200" cy="457200"/>
          </a:xfrm>
          <a:prstGeom prst="rect">
            <a:avLst/>
          </a:prstGeom>
        </p:spPr>
      </p:pic>
      <p:grpSp>
        <p:nvGrpSpPr>
          <p:cNvPr id="21" name="Group 20">
            <a:extLst>
              <a:ext uri="{FF2B5EF4-FFF2-40B4-BE49-F238E27FC236}">
                <a16:creationId xmlns:a16="http://schemas.microsoft.com/office/drawing/2014/main" id="{1BED628E-8E3C-4730-9164-FA14204B2C04}"/>
              </a:ext>
            </a:extLst>
          </p:cNvPr>
          <p:cNvGrpSpPr/>
          <p:nvPr userDrawn="1"/>
        </p:nvGrpSpPr>
        <p:grpSpPr>
          <a:xfrm>
            <a:off x="3343275" y="337297"/>
            <a:ext cx="2457450" cy="1154207"/>
            <a:chOff x="9867900" y="2943967"/>
            <a:chExt cx="2261370" cy="1062113"/>
          </a:xfrm>
        </p:grpSpPr>
        <p:pic>
          <p:nvPicPr>
            <p:cNvPr id="22" name="Picture 21" descr="A picture containing text, device, gauge, meter&#10;&#10;Description automatically generated">
              <a:extLst>
                <a:ext uri="{FF2B5EF4-FFF2-40B4-BE49-F238E27FC236}">
                  <a16:creationId xmlns:a16="http://schemas.microsoft.com/office/drawing/2014/main" id="{3E33DB3D-D2D9-4126-BFCF-6534656F292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23" name="Picture 22">
              <a:extLst>
                <a:ext uri="{FF2B5EF4-FFF2-40B4-BE49-F238E27FC236}">
                  <a16:creationId xmlns:a16="http://schemas.microsoft.com/office/drawing/2014/main" id="{69396FBC-B29A-434F-AF26-C25483ECBEBE}"/>
                </a:ext>
              </a:extLst>
            </p:cNvPr>
            <p:cNvPicPr>
              <a:picLocks noChangeAspect="1"/>
            </p:cNvPicPr>
            <p:nvPr userDrawn="1"/>
          </p:nvPicPr>
          <p:blipFill rotWithShape="1">
            <a:blip r:embed="rId6"/>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41835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35000022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2C4881A5-6385-41DB-901C-A33E360437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00499" y="0"/>
            <a:ext cx="5143500" cy="5143500"/>
          </a:xfrm>
          <a:prstGeom prst="rect">
            <a:avLst/>
          </a:prstGeom>
        </p:spPr>
      </p:pic>
      <p:sp>
        <p:nvSpPr>
          <p:cNvPr id="7" name="Rectangle 6">
            <a:extLst>
              <a:ext uri="{FF2B5EF4-FFF2-40B4-BE49-F238E27FC236}">
                <a16:creationId xmlns:a16="http://schemas.microsoft.com/office/drawing/2014/main" id="{647982A9-32B3-44E5-9480-CC0660AD6905}"/>
              </a:ext>
            </a:extLst>
          </p:cNvPr>
          <p:cNvSpPr/>
          <p:nvPr userDrawn="1"/>
        </p:nvSpPr>
        <p:spPr>
          <a:xfrm>
            <a:off x="-2" y="0"/>
            <a:ext cx="4000502"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11C8290A-36AE-4668-88F5-4ABF4EF4166E}"/>
              </a:ext>
            </a:extLst>
          </p:cNvPr>
          <p:cNvSpPr/>
          <p:nvPr userDrawn="1"/>
        </p:nvSpPr>
        <p:spPr>
          <a:xfrm>
            <a:off x="-1" y="1"/>
            <a:ext cx="9154886" cy="5143499"/>
          </a:xfrm>
          <a:prstGeom prst="rect">
            <a:avLst/>
          </a:prstGeom>
          <a:solidFill>
            <a:schemeClr val="tx1">
              <a:lumMod val="95000"/>
              <a:lumOff val="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0">
              <a:solidFill>
                <a:schemeClr val="bg1"/>
              </a:solidFill>
            </a:endParaRPr>
          </a:p>
        </p:txBody>
      </p:sp>
      <p:sp>
        <p:nvSpPr>
          <p:cNvPr id="9" name="Freeform: Shape 8">
            <a:extLst>
              <a:ext uri="{FF2B5EF4-FFF2-40B4-BE49-F238E27FC236}">
                <a16:creationId xmlns:a16="http://schemas.microsoft.com/office/drawing/2014/main" id="{5F1819F4-FEEC-4BB2-A983-ABAAE2422606}"/>
              </a:ext>
            </a:extLst>
          </p:cNvPr>
          <p:cNvSpPr/>
          <p:nvPr userDrawn="1"/>
        </p:nvSpPr>
        <p:spPr>
          <a:xfrm>
            <a:off x="-1" y="3486150"/>
            <a:ext cx="6115052" cy="1028700"/>
          </a:xfrm>
          <a:custGeom>
            <a:avLst/>
            <a:gdLst>
              <a:gd name="connsiteX0" fmla="*/ 0 w 8153403"/>
              <a:gd name="connsiteY0" fmla="*/ 0 h 1371600"/>
              <a:gd name="connsiteX1" fmla="*/ 8153403 w 8153403"/>
              <a:gd name="connsiteY1" fmla="*/ 0 h 1371600"/>
              <a:gd name="connsiteX2" fmla="*/ 7447646 w 8153403"/>
              <a:gd name="connsiteY2" fmla="*/ 1371600 h 1371600"/>
              <a:gd name="connsiteX3" fmla="*/ 0 w 8153403"/>
              <a:gd name="connsiteY3" fmla="*/ 1371600 h 1371600"/>
            </a:gdLst>
            <a:ahLst/>
            <a:cxnLst>
              <a:cxn ang="0">
                <a:pos x="connsiteX0" y="connsiteY0"/>
              </a:cxn>
              <a:cxn ang="0">
                <a:pos x="connsiteX1" y="connsiteY1"/>
              </a:cxn>
              <a:cxn ang="0">
                <a:pos x="connsiteX2" y="connsiteY2"/>
              </a:cxn>
              <a:cxn ang="0">
                <a:pos x="connsiteX3" y="connsiteY3"/>
              </a:cxn>
            </a:cxnLst>
            <a:rect l="l" t="t" r="r" b="b"/>
            <a:pathLst>
              <a:path w="8153403" h="1371600">
                <a:moveTo>
                  <a:pt x="0" y="0"/>
                </a:moveTo>
                <a:lnTo>
                  <a:pt x="8153403" y="0"/>
                </a:lnTo>
                <a:lnTo>
                  <a:pt x="7447646" y="1371600"/>
                </a:lnTo>
                <a:lnTo>
                  <a:pt x="0" y="1371600"/>
                </a:lnTo>
                <a:close/>
              </a:path>
            </a:pathLst>
          </a:cu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342900" marR="0" lvl="0" indent="0" algn="l" defTabSz="685800" rtl="0" eaLnBrk="1" fontAlgn="auto" latinLnBrk="0" hangingPunct="1">
              <a:lnSpc>
                <a:spcPct val="100000"/>
              </a:lnSpc>
              <a:spcBef>
                <a:spcPts val="0"/>
              </a:spcBef>
              <a:spcAft>
                <a:spcPts val="0"/>
              </a:spcAft>
              <a:buClrTx/>
              <a:buSzTx/>
              <a:buFontTx/>
              <a:buNone/>
              <a:tabLst/>
              <a:defRPr/>
            </a:pPr>
            <a:r>
              <a:rPr lang="en-US" sz="4500">
                <a:solidFill>
                  <a:schemeClr val="bg1"/>
                </a:solidFill>
                <a:latin typeface="+mj-lt"/>
              </a:rPr>
              <a:t>Any Questions ?</a:t>
            </a:r>
          </a:p>
        </p:txBody>
      </p:sp>
      <p:sp>
        <p:nvSpPr>
          <p:cNvPr id="10" name="Parallelogram 9">
            <a:extLst>
              <a:ext uri="{FF2B5EF4-FFF2-40B4-BE49-F238E27FC236}">
                <a16:creationId xmlns:a16="http://schemas.microsoft.com/office/drawing/2014/main" id="{085CBFE4-1841-4C20-8A89-B145786C85CC}"/>
              </a:ext>
            </a:extLst>
          </p:cNvPr>
          <p:cNvSpPr/>
          <p:nvPr userDrawn="1"/>
        </p:nvSpPr>
        <p:spPr>
          <a:xfrm>
            <a:off x="5200650" y="3657600"/>
            <a:ext cx="1371599" cy="685800"/>
          </a:xfrm>
          <a:prstGeom prst="parallelogram">
            <a:avLst>
              <a:gd name="adj" fmla="val 514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4500">
              <a:solidFill>
                <a:schemeClr val="bg1"/>
              </a:solidFill>
              <a:latin typeface="+mj-lt"/>
            </a:endParaRPr>
          </a:p>
        </p:txBody>
      </p:sp>
      <p:pic>
        <p:nvPicPr>
          <p:cNvPr id="11" name="Graphic 10">
            <a:extLst>
              <a:ext uri="{FF2B5EF4-FFF2-40B4-BE49-F238E27FC236}">
                <a16:creationId xmlns:a16="http://schemas.microsoft.com/office/drawing/2014/main" id="{05268F51-D354-4148-B08A-ACD843D2E67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00713" y="3791426"/>
            <a:ext cx="457200" cy="457200"/>
          </a:xfrm>
          <a:prstGeom prst="rect">
            <a:avLst/>
          </a:prstGeom>
        </p:spPr>
      </p:pic>
      <p:grpSp>
        <p:nvGrpSpPr>
          <p:cNvPr id="12" name="Group 11">
            <a:extLst>
              <a:ext uri="{FF2B5EF4-FFF2-40B4-BE49-F238E27FC236}">
                <a16:creationId xmlns:a16="http://schemas.microsoft.com/office/drawing/2014/main" id="{C6652308-CC0A-401B-99A9-31334D6D08EE}"/>
              </a:ext>
            </a:extLst>
          </p:cNvPr>
          <p:cNvGrpSpPr/>
          <p:nvPr userDrawn="1"/>
        </p:nvGrpSpPr>
        <p:grpSpPr>
          <a:xfrm>
            <a:off x="3343275" y="337297"/>
            <a:ext cx="2457450" cy="1154207"/>
            <a:chOff x="9867900" y="2943967"/>
            <a:chExt cx="2261370" cy="1062113"/>
          </a:xfrm>
        </p:grpSpPr>
        <p:pic>
          <p:nvPicPr>
            <p:cNvPr id="13" name="Picture 12" descr="A picture containing text, device, gauge, meter&#10;&#10;Description automatically generated">
              <a:extLst>
                <a:ext uri="{FF2B5EF4-FFF2-40B4-BE49-F238E27FC236}">
                  <a16:creationId xmlns:a16="http://schemas.microsoft.com/office/drawing/2014/main" id="{03D6B70F-9A93-43C1-8125-0E2CB2DCCF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67900" y="2943967"/>
              <a:ext cx="2240135" cy="804357"/>
            </a:xfrm>
            <a:prstGeom prst="rect">
              <a:avLst/>
            </a:prstGeom>
          </p:spPr>
        </p:pic>
        <p:pic>
          <p:nvPicPr>
            <p:cNvPr id="14" name="Picture 13">
              <a:extLst>
                <a:ext uri="{FF2B5EF4-FFF2-40B4-BE49-F238E27FC236}">
                  <a16:creationId xmlns:a16="http://schemas.microsoft.com/office/drawing/2014/main" id="{551F853A-86B0-40A7-A093-07F77AD19897}"/>
                </a:ext>
              </a:extLst>
            </p:cNvPr>
            <p:cNvPicPr>
              <a:picLocks noChangeAspect="1"/>
            </p:cNvPicPr>
            <p:nvPr userDrawn="1"/>
          </p:nvPicPr>
          <p:blipFill rotWithShape="1">
            <a:blip r:embed="rId6"/>
            <a:srcRect t="70491"/>
            <a:stretch/>
          </p:blipFill>
          <p:spPr>
            <a:xfrm>
              <a:off x="9878989" y="3677467"/>
              <a:ext cx="2250281" cy="328613"/>
            </a:xfrm>
            <a:prstGeom prst="rect">
              <a:avLst/>
            </a:prstGeom>
          </p:spPr>
        </p:pic>
      </p:grpSp>
    </p:spTree>
    <p:extLst>
      <p:ext uri="{BB962C8B-B14F-4D97-AF65-F5344CB8AC3E}">
        <p14:creationId xmlns:p14="http://schemas.microsoft.com/office/powerpoint/2010/main" val="266655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6FA49F5-1EFB-4679-8A79-036BA13BD79A}"/>
              </a:ext>
            </a:extLst>
          </p:cNvPr>
          <p:cNvSpPr/>
          <p:nvPr userDrawn="1"/>
        </p:nvSpPr>
        <p:spPr>
          <a:xfrm>
            <a:off x="2514600" y="0"/>
            <a:ext cx="6629400" cy="51435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53E2E7BF-982B-40D1-BB6D-93A9F27F680E}"/>
              </a:ext>
            </a:extLst>
          </p:cNvPr>
          <p:cNvSpPr/>
          <p:nvPr userDrawn="1"/>
        </p:nvSpPr>
        <p:spPr>
          <a:xfrm>
            <a:off x="0" y="0"/>
            <a:ext cx="25146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2">
            <a:extLst>
              <a:ext uri="{FF2B5EF4-FFF2-40B4-BE49-F238E27FC236}">
                <a16:creationId xmlns:a16="http://schemas.microsoft.com/office/drawing/2014/main" id="{7CF27C74-0EA9-4D6A-A92D-D3A634E6043D}"/>
              </a:ext>
            </a:extLst>
          </p:cNvPr>
          <p:cNvSpPr>
            <a:spLocks noGrp="1"/>
          </p:cNvSpPr>
          <p:nvPr>
            <p:ph type="pic" sz="quarter" idx="13"/>
          </p:nvPr>
        </p:nvSpPr>
        <p:spPr>
          <a:xfrm>
            <a:off x="400050" y="1743075"/>
            <a:ext cx="1657350" cy="1657350"/>
          </a:xfrm>
          <a:prstGeom prst="rect">
            <a:avLst/>
          </a:prstGeom>
        </p:spPr>
        <p:txBody>
          <a:bodyPr/>
          <a:lstStyle/>
          <a:p>
            <a:endParaRPr lang="en-US"/>
          </a:p>
        </p:txBody>
      </p:sp>
      <p:sp>
        <p:nvSpPr>
          <p:cNvPr id="9" name="Rectangle 8">
            <a:extLst>
              <a:ext uri="{FF2B5EF4-FFF2-40B4-BE49-F238E27FC236}">
                <a16:creationId xmlns:a16="http://schemas.microsoft.com/office/drawing/2014/main" id="{6C51CEDD-E860-44E6-9F60-5D61D0CD1D67}"/>
              </a:ext>
            </a:extLst>
          </p:cNvPr>
          <p:cNvSpPr/>
          <p:nvPr userDrawn="1"/>
        </p:nvSpPr>
        <p:spPr>
          <a:xfrm>
            <a:off x="3771901" y="1168242"/>
            <a:ext cx="5161271" cy="342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a:extLst>
              <a:ext uri="{FF2B5EF4-FFF2-40B4-BE49-F238E27FC236}">
                <a16:creationId xmlns:a16="http://schemas.microsoft.com/office/drawing/2014/main" id="{7C128E42-6222-4892-BC4A-379959A1BDC3}"/>
              </a:ext>
            </a:extLst>
          </p:cNvPr>
          <p:cNvSpPr/>
          <p:nvPr userDrawn="1"/>
        </p:nvSpPr>
        <p:spPr>
          <a:xfrm>
            <a:off x="2823893" y="4000501"/>
            <a:ext cx="5161271" cy="342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1" name="Group 10">
            <a:extLst>
              <a:ext uri="{FF2B5EF4-FFF2-40B4-BE49-F238E27FC236}">
                <a16:creationId xmlns:a16="http://schemas.microsoft.com/office/drawing/2014/main" id="{26F87B14-D1FD-4050-B528-0E84AA730EFD}"/>
              </a:ext>
            </a:extLst>
          </p:cNvPr>
          <p:cNvGrpSpPr/>
          <p:nvPr userDrawn="1"/>
        </p:nvGrpSpPr>
        <p:grpSpPr>
          <a:xfrm>
            <a:off x="345011" y="1689838"/>
            <a:ext cx="460772" cy="457200"/>
            <a:chOff x="481013" y="2270125"/>
            <a:chExt cx="614362" cy="609600"/>
          </a:xfrm>
        </p:grpSpPr>
        <p:cxnSp>
          <p:nvCxnSpPr>
            <p:cNvPr id="12" name="Straight Connector 11">
              <a:extLst>
                <a:ext uri="{FF2B5EF4-FFF2-40B4-BE49-F238E27FC236}">
                  <a16:creationId xmlns:a16="http://schemas.microsoft.com/office/drawing/2014/main" id="{23AE338F-4FE1-4601-B74B-F172FCD42B3B}"/>
                </a:ext>
              </a:extLst>
            </p:cNvPr>
            <p:cNvCxnSpPr>
              <a:cxnSpLocks/>
            </p:cNvCxnSpPr>
            <p:nvPr userDrawn="1"/>
          </p:nvCxnSpPr>
          <p:spPr>
            <a:xfrm>
              <a:off x="481013" y="2286000"/>
              <a:ext cx="6143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8D7136-C4A6-4D89-853C-1CFEDFF12ECA}"/>
                </a:ext>
              </a:extLst>
            </p:cNvPr>
            <p:cNvCxnSpPr>
              <a:cxnSpLocks/>
            </p:cNvCxnSpPr>
            <p:nvPr userDrawn="1"/>
          </p:nvCxnSpPr>
          <p:spPr>
            <a:xfrm rot="5400000">
              <a:off x="195263" y="2574925"/>
              <a:ext cx="6096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516A763-2C9A-468A-A865-E5921EDE2ACA}"/>
              </a:ext>
            </a:extLst>
          </p:cNvPr>
          <p:cNvGrpSpPr/>
          <p:nvPr userDrawn="1"/>
        </p:nvGrpSpPr>
        <p:grpSpPr>
          <a:xfrm rot="10800000">
            <a:off x="1661192" y="3003465"/>
            <a:ext cx="460772" cy="457200"/>
            <a:chOff x="481013" y="2270125"/>
            <a:chExt cx="614362" cy="609600"/>
          </a:xfrm>
        </p:grpSpPr>
        <p:cxnSp>
          <p:nvCxnSpPr>
            <p:cNvPr id="15" name="Straight Connector 14">
              <a:extLst>
                <a:ext uri="{FF2B5EF4-FFF2-40B4-BE49-F238E27FC236}">
                  <a16:creationId xmlns:a16="http://schemas.microsoft.com/office/drawing/2014/main" id="{2F28F517-66AA-4E30-812F-1A2634B6DBBC}"/>
                </a:ext>
              </a:extLst>
            </p:cNvPr>
            <p:cNvCxnSpPr>
              <a:cxnSpLocks/>
            </p:cNvCxnSpPr>
            <p:nvPr userDrawn="1"/>
          </p:nvCxnSpPr>
          <p:spPr>
            <a:xfrm>
              <a:off x="481013" y="2286000"/>
              <a:ext cx="6143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4C30A2-00B4-49C9-A37A-B4275F3E1374}"/>
                </a:ext>
              </a:extLst>
            </p:cNvPr>
            <p:cNvCxnSpPr>
              <a:cxnSpLocks/>
            </p:cNvCxnSpPr>
            <p:nvPr userDrawn="1"/>
          </p:nvCxnSpPr>
          <p:spPr>
            <a:xfrm rot="5400000">
              <a:off x="195263" y="2574925"/>
              <a:ext cx="6096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36">
            <a:extLst>
              <a:ext uri="{FF2B5EF4-FFF2-40B4-BE49-F238E27FC236}">
                <a16:creationId xmlns:a16="http://schemas.microsoft.com/office/drawing/2014/main" id="{D9DAF253-E2D7-45FE-8B07-D89BBB813F45}"/>
              </a:ext>
            </a:extLst>
          </p:cNvPr>
          <p:cNvSpPr>
            <a:spLocks noGrp="1"/>
          </p:cNvSpPr>
          <p:nvPr>
            <p:ph type="body" sz="quarter" idx="14"/>
          </p:nvPr>
        </p:nvSpPr>
        <p:spPr>
          <a:xfrm>
            <a:off x="2821781" y="1485901"/>
            <a:ext cx="6111479" cy="2231231"/>
          </a:xfrm>
          <a:prstGeom prst="rect">
            <a:avLst/>
          </a:prstGeom>
        </p:spPr>
        <p:txBody>
          <a:bodyPr anchor="ctr">
            <a:normAutofit/>
          </a:bodyPr>
          <a:lstStyle>
            <a:lvl1pPr algn="ctr">
              <a:defRPr sz="1350">
                <a:solidFill>
                  <a:schemeClr val="tx1"/>
                </a:solidFill>
              </a:defRPr>
            </a:lvl1pPr>
            <a:lvl2pPr>
              <a:defRPr sz="1350"/>
            </a:lvl2pPr>
            <a:lvl3pPr>
              <a:defRPr sz="1350"/>
            </a:lvl3pPr>
            <a:lvl4pPr>
              <a:defRPr sz="1350"/>
            </a:lvl4pPr>
            <a:lvl5pPr>
              <a:defRPr sz="1350"/>
            </a:lvl5pPr>
          </a:lstStyle>
          <a:p>
            <a:pPr lvl="0"/>
            <a:endParaRPr lang="en-US"/>
          </a:p>
        </p:txBody>
      </p:sp>
      <p:sp>
        <p:nvSpPr>
          <p:cNvPr id="18" name="TextBox 17">
            <a:extLst>
              <a:ext uri="{FF2B5EF4-FFF2-40B4-BE49-F238E27FC236}">
                <a16:creationId xmlns:a16="http://schemas.microsoft.com/office/drawing/2014/main" id="{7D63DEB2-E734-4185-962B-61F929EE8F5E}"/>
              </a:ext>
            </a:extLst>
          </p:cNvPr>
          <p:cNvSpPr txBox="1"/>
          <p:nvPr userDrawn="1"/>
        </p:nvSpPr>
        <p:spPr>
          <a:xfrm>
            <a:off x="2666494" y="159805"/>
            <a:ext cx="703571" cy="2862322"/>
          </a:xfrm>
          <a:prstGeom prst="rect">
            <a:avLst/>
          </a:prstGeom>
          <a:noFill/>
        </p:spPr>
        <p:txBody>
          <a:bodyPr wrap="square" rtlCol="0">
            <a:spAutoFit/>
          </a:bodyPr>
          <a:lstStyle/>
          <a:p>
            <a:r>
              <a:rPr lang="en-US" sz="18000" b="0" i="0">
                <a:solidFill>
                  <a:schemeClr val="accent1"/>
                </a:solidFill>
                <a:effectLst/>
                <a:latin typeface="+mn-lt"/>
              </a:rPr>
              <a:t>“</a:t>
            </a:r>
            <a:endParaRPr lang="en-US" sz="18000">
              <a:solidFill>
                <a:schemeClr val="accent1"/>
              </a:solidFill>
              <a:latin typeface="+mn-lt"/>
            </a:endParaRPr>
          </a:p>
        </p:txBody>
      </p:sp>
      <p:sp>
        <p:nvSpPr>
          <p:cNvPr id="19" name="TextBox 18">
            <a:extLst>
              <a:ext uri="{FF2B5EF4-FFF2-40B4-BE49-F238E27FC236}">
                <a16:creationId xmlns:a16="http://schemas.microsoft.com/office/drawing/2014/main" id="{59AF6337-86A1-42DE-B754-6F200B119C82}"/>
              </a:ext>
            </a:extLst>
          </p:cNvPr>
          <p:cNvSpPr txBox="1"/>
          <p:nvPr userDrawn="1"/>
        </p:nvSpPr>
        <p:spPr>
          <a:xfrm rot="10800000">
            <a:off x="8383192" y="2196182"/>
            <a:ext cx="703571" cy="2862322"/>
          </a:xfrm>
          <a:prstGeom prst="rect">
            <a:avLst/>
          </a:prstGeom>
          <a:noFill/>
        </p:spPr>
        <p:txBody>
          <a:bodyPr wrap="square" rtlCol="0">
            <a:spAutoFit/>
          </a:bodyPr>
          <a:lstStyle/>
          <a:p>
            <a:r>
              <a:rPr lang="en-US" sz="18000" b="0" i="0">
                <a:solidFill>
                  <a:schemeClr val="accent1"/>
                </a:solidFill>
                <a:effectLst/>
                <a:latin typeface="+mn-lt"/>
              </a:rPr>
              <a:t>“</a:t>
            </a:r>
            <a:endParaRPr lang="en-US" sz="18000">
              <a:solidFill>
                <a:schemeClr val="accent1"/>
              </a:solidFill>
              <a:latin typeface="+mn-lt"/>
            </a:endParaRPr>
          </a:p>
        </p:txBody>
      </p:sp>
      <p:pic>
        <p:nvPicPr>
          <p:cNvPr id="20" name="Picture 19">
            <a:extLst>
              <a:ext uri="{FF2B5EF4-FFF2-40B4-BE49-F238E27FC236}">
                <a16:creationId xmlns:a16="http://schemas.microsoft.com/office/drawing/2014/main" id="{2CD05252-33AD-444D-A3EF-40489060A9FE}"/>
              </a:ext>
            </a:extLst>
          </p:cNvPr>
          <p:cNvPicPr>
            <a:picLocks noChangeAspect="1"/>
          </p:cNvPicPr>
          <p:nvPr userDrawn="1"/>
        </p:nvPicPr>
        <p:blipFill rotWithShape="1">
          <a:blip r:embed="rId2">
            <a:biLevel thresh="25000"/>
          </a:blip>
          <a:srcRect t="4060"/>
          <a:stretch/>
        </p:blipFill>
        <p:spPr>
          <a:xfrm>
            <a:off x="166482" y="4654115"/>
            <a:ext cx="856504" cy="406651"/>
          </a:xfrm>
          <a:prstGeom prst="rect">
            <a:avLst/>
          </a:prstGeom>
        </p:spPr>
      </p:pic>
    </p:spTree>
    <p:extLst>
      <p:ext uri="{BB962C8B-B14F-4D97-AF65-F5344CB8AC3E}">
        <p14:creationId xmlns:p14="http://schemas.microsoft.com/office/powerpoint/2010/main" val="8043740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3B17BBC-DEF3-4D9A-8F7C-135DF18EC1A6}"/>
              </a:ext>
            </a:extLst>
          </p:cNvPr>
          <p:cNvGrpSpPr/>
          <p:nvPr userDrawn="1"/>
        </p:nvGrpSpPr>
        <p:grpSpPr>
          <a:xfrm>
            <a:off x="8267701" y="0"/>
            <a:ext cx="876299" cy="1762125"/>
            <a:chOff x="10934700" y="3022599"/>
            <a:chExt cx="1257299" cy="2610482"/>
          </a:xfrm>
          <a:solidFill>
            <a:schemeClr val="accent6"/>
          </a:solidFill>
        </p:grpSpPr>
        <p:sp>
          <p:nvSpPr>
            <p:cNvPr id="7" name="Freeform: Shape 6">
              <a:extLst>
                <a:ext uri="{FF2B5EF4-FFF2-40B4-BE49-F238E27FC236}">
                  <a16:creationId xmlns:a16="http://schemas.microsoft.com/office/drawing/2014/main" id="{2BB0D34B-6E5D-41CE-ADE2-252E5CEBA0E4}"/>
                </a:ext>
              </a:extLst>
            </p:cNvPr>
            <p:cNvSpPr/>
            <p:nvPr userDrawn="1"/>
          </p:nvSpPr>
          <p:spPr>
            <a:xfrm rot="10800000">
              <a:off x="12183286" y="3022599"/>
              <a:ext cx="8713" cy="2610482"/>
            </a:xfrm>
            <a:custGeom>
              <a:avLst/>
              <a:gdLst>
                <a:gd name="connsiteX0" fmla="*/ 0 w 24279"/>
                <a:gd name="connsiteY0" fmla="*/ 0 h 1904839"/>
                <a:gd name="connsiteX1" fmla="*/ 24279 w 24279"/>
                <a:gd name="connsiteY1" fmla="*/ 6469 h 1904839"/>
                <a:gd name="connsiteX2" fmla="*/ 24279 w 24279"/>
                <a:gd name="connsiteY2" fmla="*/ 1898371 h 1904839"/>
                <a:gd name="connsiteX3" fmla="*/ 0 w 24279"/>
                <a:gd name="connsiteY3" fmla="*/ 1904839 h 1904839"/>
                <a:gd name="connsiteX4" fmla="*/ 0 w 24279"/>
                <a:gd name="connsiteY4" fmla="*/ 0 h 190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904839">
                  <a:moveTo>
                    <a:pt x="0" y="0"/>
                  </a:moveTo>
                  <a:lnTo>
                    <a:pt x="24279" y="6469"/>
                  </a:lnTo>
                  <a:lnTo>
                    <a:pt x="24279" y="1898371"/>
                  </a:lnTo>
                  <a:lnTo>
                    <a:pt x="0" y="190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8" name="Freeform: Shape 7">
              <a:extLst>
                <a:ext uri="{FF2B5EF4-FFF2-40B4-BE49-F238E27FC236}">
                  <a16:creationId xmlns:a16="http://schemas.microsoft.com/office/drawing/2014/main" id="{4D95DE2B-C963-4D5A-81F9-0A68CFF65B6B}"/>
                </a:ext>
              </a:extLst>
            </p:cNvPr>
            <p:cNvSpPr/>
            <p:nvPr userDrawn="1"/>
          </p:nvSpPr>
          <p:spPr>
            <a:xfrm rot="10800000">
              <a:off x="12162817" y="3043424"/>
              <a:ext cx="8713" cy="2568831"/>
            </a:xfrm>
            <a:custGeom>
              <a:avLst/>
              <a:gdLst>
                <a:gd name="connsiteX0" fmla="*/ 0 w 24279"/>
                <a:gd name="connsiteY0" fmla="*/ 0 h 1874447"/>
                <a:gd name="connsiteX1" fmla="*/ 24279 w 24279"/>
                <a:gd name="connsiteY1" fmla="*/ 6469 h 1874447"/>
                <a:gd name="connsiteX2" fmla="*/ 24279 w 24279"/>
                <a:gd name="connsiteY2" fmla="*/ 1867978 h 1874447"/>
                <a:gd name="connsiteX3" fmla="*/ 0 w 24279"/>
                <a:gd name="connsiteY3" fmla="*/ 1874447 h 1874447"/>
                <a:gd name="connsiteX4" fmla="*/ 0 w 24279"/>
                <a:gd name="connsiteY4" fmla="*/ 0 h 187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74447">
                  <a:moveTo>
                    <a:pt x="0" y="0"/>
                  </a:moveTo>
                  <a:lnTo>
                    <a:pt x="24279" y="6469"/>
                  </a:lnTo>
                  <a:lnTo>
                    <a:pt x="24279" y="1867978"/>
                  </a:lnTo>
                  <a:lnTo>
                    <a:pt x="0" y="187444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9" name="Freeform: Shape 8">
              <a:extLst>
                <a:ext uri="{FF2B5EF4-FFF2-40B4-BE49-F238E27FC236}">
                  <a16:creationId xmlns:a16="http://schemas.microsoft.com/office/drawing/2014/main" id="{6D57BB07-0CF0-42B9-BFE3-DF7D460997B9}"/>
                </a:ext>
              </a:extLst>
            </p:cNvPr>
            <p:cNvSpPr/>
            <p:nvPr userDrawn="1"/>
          </p:nvSpPr>
          <p:spPr>
            <a:xfrm rot="10800000">
              <a:off x="12142348" y="3064250"/>
              <a:ext cx="8713" cy="2527181"/>
            </a:xfrm>
            <a:custGeom>
              <a:avLst/>
              <a:gdLst>
                <a:gd name="connsiteX0" fmla="*/ 0 w 24279"/>
                <a:gd name="connsiteY0" fmla="*/ 0 h 1844055"/>
                <a:gd name="connsiteX1" fmla="*/ 24279 w 24279"/>
                <a:gd name="connsiteY1" fmla="*/ 6469 h 1844055"/>
                <a:gd name="connsiteX2" fmla="*/ 24279 w 24279"/>
                <a:gd name="connsiteY2" fmla="*/ 1837586 h 1844055"/>
                <a:gd name="connsiteX3" fmla="*/ 0 w 24279"/>
                <a:gd name="connsiteY3" fmla="*/ 1844055 h 1844055"/>
                <a:gd name="connsiteX4" fmla="*/ 0 w 24279"/>
                <a:gd name="connsiteY4" fmla="*/ 0 h 184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44055">
                  <a:moveTo>
                    <a:pt x="0" y="0"/>
                  </a:moveTo>
                  <a:lnTo>
                    <a:pt x="24279" y="6469"/>
                  </a:lnTo>
                  <a:lnTo>
                    <a:pt x="24279" y="1837586"/>
                  </a:lnTo>
                  <a:lnTo>
                    <a:pt x="0" y="184405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0" name="Freeform: Shape 9">
              <a:extLst>
                <a:ext uri="{FF2B5EF4-FFF2-40B4-BE49-F238E27FC236}">
                  <a16:creationId xmlns:a16="http://schemas.microsoft.com/office/drawing/2014/main" id="{A8CC3255-E900-4383-8C43-1C31E516FEB1}"/>
                </a:ext>
              </a:extLst>
            </p:cNvPr>
            <p:cNvSpPr/>
            <p:nvPr userDrawn="1"/>
          </p:nvSpPr>
          <p:spPr>
            <a:xfrm rot="10800000">
              <a:off x="12121879" y="3085075"/>
              <a:ext cx="8713" cy="2485530"/>
            </a:xfrm>
            <a:custGeom>
              <a:avLst/>
              <a:gdLst>
                <a:gd name="connsiteX0" fmla="*/ 0 w 24279"/>
                <a:gd name="connsiteY0" fmla="*/ 0 h 1813663"/>
                <a:gd name="connsiteX1" fmla="*/ 24279 w 24279"/>
                <a:gd name="connsiteY1" fmla="*/ 6469 h 1813663"/>
                <a:gd name="connsiteX2" fmla="*/ 24279 w 24279"/>
                <a:gd name="connsiteY2" fmla="*/ 1807194 h 1813663"/>
                <a:gd name="connsiteX3" fmla="*/ 0 w 24279"/>
                <a:gd name="connsiteY3" fmla="*/ 1813663 h 1813663"/>
                <a:gd name="connsiteX4" fmla="*/ 0 w 24279"/>
                <a:gd name="connsiteY4" fmla="*/ 0 h 181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813663">
                  <a:moveTo>
                    <a:pt x="0" y="0"/>
                  </a:moveTo>
                  <a:lnTo>
                    <a:pt x="24279" y="6469"/>
                  </a:lnTo>
                  <a:lnTo>
                    <a:pt x="24279" y="1807194"/>
                  </a:lnTo>
                  <a:lnTo>
                    <a:pt x="0" y="18136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1" name="Freeform: Shape 10">
              <a:extLst>
                <a:ext uri="{FF2B5EF4-FFF2-40B4-BE49-F238E27FC236}">
                  <a16:creationId xmlns:a16="http://schemas.microsoft.com/office/drawing/2014/main" id="{1D994C4C-1907-4821-917D-F2FF97D7D6E5}"/>
                </a:ext>
              </a:extLst>
            </p:cNvPr>
            <p:cNvSpPr/>
            <p:nvPr userDrawn="1"/>
          </p:nvSpPr>
          <p:spPr>
            <a:xfrm rot="10800000">
              <a:off x="12101411" y="3105900"/>
              <a:ext cx="8713" cy="2443879"/>
            </a:xfrm>
            <a:custGeom>
              <a:avLst/>
              <a:gdLst>
                <a:gd name="connsiteX0" fmla="*/ 0 w 24279"/>
                <a:gd name="connsiteY0" fmla="*/ 0 h 1783271"/>
                <a:gd name="connsiteX1" fmla="*/ 24279 w 24279"/>
                <a:gd name="connsiteY1" fmla="*/ 6469 h 1783271"/>
                <a:gd name="connsiteX2" fmla="*/ 24279 w 24279"/>
                <a:gd name="connsiteY2" fmla="*/ 1776802 h 1783271"/>
                <a:gd name="connsiteX3" fmla="*/ 0 w 24279"/>
                <a:gd name="connsiteY3" fmla="*/ 1783271 h 1783271"/>
                <a:gd name="connsiteX4" fmla="*/ 0 w 24279"/>
                <a:gd name="connsiteY4" fmla="*/ 0 h 178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83271">
                  <a:moveTo>
                    <a:pt x="0" y="0"/>
                  </a:moveTo>
                  <a:lnTo>
                    <a:pt x="24279" y="6469"/>
                  </a:lnTo>
                  <a:lnTo>
                    <a:pt x="24279" y="1776802"/>
                  </a:lnTo>
                  <a:lnTo>
                    <a:pt x="0" y="178327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2" name="Freeform: Shape 11">
              <a:extLst>
                <a:ext uri="{FF2B5EF4-FFF2-40B4-BE49-F238E27FC236}">
                  <a16:creationId xmlns:a16="http://schemas.microsoft.com/office/drawing/2014/main" id="{85AC02D8-611D-45FA-AB72-73422877CDB6}"/>
                </a:ext>
              </a:extLst>
            </p:cNvPr>
            <p:cNvSpPr/>
            <p:nvPr userDrawn="1"/>
          </p:nvSpPr>
          <p:spPr>
            <a:xfrm rot="10800000">
              <a:off x="12080942" y="3126726"/>
              <a:ext cx="8713" cy="2402227"/>
            </a:xfrm>
            <a:custGeom>
              <a:avLst/>
              <a:gdLst>
                <a:gd name="connsiteX0" fmla="*/ 0 w 24279"/>
                <a:gd name="connsiteY0" fmla="*/ 0 h 1752878"/>
                <a:gd name="connsiteX1" fmla="*/ 24279 w 24279"/>
                <a:gd name="connsiteY1" fmla="*/ 6468 h 1752878"/>
                <a:gd name="connsiteX2" fmla="*/ 24279 w 24279"/>
                <a:gd name="connsiteY2" fmla="*/ 1746409 h 1752878"/>
                <a:gd name="connsiteX3" fmla="*/ 0 w 24279"/>
                <a:gd name="connsiteY3" fmla="*/ 1752878 h 1752878"/>
                <a:gd name="connsiteX4" fmla="*/ 0 w 24279"/>
                <a:gd name="connsiteY4" fmla="*/ 0 h 175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52878">
                  <a:moveTo>
                    <a:pt x="0" y="0"/>
                  </a:moveTo>
                  <a:lnTo>
                    <a:pt x="24279" y="6468"/>
                  </a:lnTo>
                  <a:lnTo>
                    <a:pt x="24279" y="1746409"/>
                  </a:lnTo>
                  <a:lnTo>
                    <a:pt x="0" y="175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3" name="Freeform: Shape 12">
              <a:extLst>
                <a:ext uri="{FF2B5EF4-FFF2-40B4-BE49-F238E27FC236}">
                  <a16:creationId xmlns:a16="http://schemas.microsoft.com/office/drawing/2014/main" id="{75A8D35D-39D1-4468-BF21-BB00D87E757C}"/>
                </a:ext>
              </a:extLst>
            </p:cNvPr>
            <p:cNvSpPr/>
            <p:nvPr userDrawn="1"/>
          </p:nvSpPr>
          <p:spPr>
            <a:xfrm rot="10800000">
              <a:off x="12060473" y="3147551"/>
              <a:ext cx="8713" cy="2360577"/>
            </a:xfrm>
            <a:custGeom>
              <a:avLst/>
              <a:gdLst>
                <a:gd name="connsiteX0" fmla="*/ 0 w 24279"/>
                <a:gd name="connsiteY0" fmla="*/ 0 h 1722486"/>
                <a:gd name="connsiteX1" fmla="*/ 24279 w 24279"/>
                <a:gd name="connsiteY1" fmla="*/ 6468 h 1722486"/>
                <a:gd name="connsiteX2" fmla="*/ 24279 w 24279"/>
                <a:gd name="connsiteY2" fmla="*/ 1716017 h 1722486"/>
                <a:gd name="connsiteX3" fmla="*/ 0 w 24279"/>
                <a:gd name="connsiteY3" fmla="*/ 1722486 h 1722486"/>
                <a:gd name="connsiteX4" fmla="*/ 0 w 24279"/>
                <a:gd name="connsiteY4" fmla="*/ 0 h 172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2486">
                  <a:moveTo>
                    <a:pt x="0" y="0"/>
                  </a:moveTo>
                  <a:lnTo>
                    <a:pt x="24279" y="6468"/>
                  </a:lnTo>
                  <a:lnTo>
                    <a:pt x="24279" y="1716017"/>
                  </a:lnTo>
                  <a:lnTo>
                    <a:pt x="0" y="172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4" name="Freeform: Shape 13">
              <a:extLst>
                <a:ext uri="{FF2B5EF4-FFF2-40B4-BE49-F238E27FC236}">
                  <a16:creationId xmlns:a16="http://schemas.microsoft.com/office/drawing/2014/main" id="{F648FF0A-96C2-4C39-A9B1-359E81EFA9D3}"/>
                </a:ext>
              </a:extLst>
            </p:cNvPr>
            <p:cNvSpPr/>
            <p:nvPr userDrawn="1"/>
          </p:nvSpPr>
          <p:spPr>
            <a:xfrm rot="10800000">
              <a:off x="12040004" y="3168376"/>
              <a:ext cx="8713" cy="2318926"/>
            </a:xfrm>
            <a:custGeom>
              <a:avLst/>
              <a:gdLst>
                <a:gd name="connsiteX0" fmla="*/ 0 w 24279"/>
                <a:gd name="connsiteY0" fmla="*/ 0 h 1692094"/>
                <a:gd name="connsiteX1" fmla="*/ 24279 w 24279"/>
                <a:gd name="connsiteY1" fmla="*/ 6468 h 1692094"/>
                <a:gd name="connsiteX2" fmla="*/ 24279 w 24279"/>
                <a:gd name="connsiteY2" fmla="*/ 1685625 h 1692094"/>
                <a:gd name="connsiteX3" fmla="*/ 0 w 24279"/>
                <a:gd name="connsiteY3" fmla="*/ 1692094 h 1692094"/>
                <a:gd name="connsiteX4" fmla="*/ 0 w 24279"/>
                <a:gd name="connsiteY4" fmla="*/ 0 h 169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92094">
                  <a:moveTo>
                    <a:pt x="0" y="0"/>
                  </a:moveTo>
                  <a:lnTo>
                    <a:pt x="24279" y="6468"/>
                  </a:lnTo>
                  <a:lnTo>
                    <a:pt x="24279" y="1685625"/>
                  </a:lnTo>
                  <a:lnTo>
                    <a:pt x="0" y="169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5" name="Freeform: Shape 14">
              <a:extLst>
                <a:ext uri="{FF2B5EF4-FFF2-40B4-BE49-F238E27FC236}">
                  <a16:creationId xmlns:a16="http://schemas.microsoft.com/office/drawing/2014/main" id="{C8DE79C4-EDD8-4123-9ECF-A56B2B1BCAD1}"/>
                </a:ext>
              </a:extLst>
            </p:cNvPr>
            <p:cNvSpPr/>
            <p:nvPr userDrawn="1"/>
          </p:nvSpPr>
          <p:spPr>
            <a:xfrm rot="10800000">
              <a:off x="12019536" y="3189202"/>
              <a:ext cx="8713" cy="2277275"/>
            </a:xfrm>
            <a:custGeom>
              <a:avLst/>
              <a:gdLst>
                <a:gd name="connsiteX0" fmla="*/ 0 w 24279"/>
                <a:gd name="connsiteY0" fmla="*/ 0 h 1661702"/>
                <a:gd name="connsiteX1" fmla="*/ 24279 w 24279"/>
                <a:gd name="connsiteY1" fmla="*/ 6469 h 1661702"/>
                <a:gd name="connsiteX2" fmla="*/ 24279 w 24279"/>
                <a:gd name="connsiteY2" fmla="*/ 1655233 h 1661702"/>
                <a:gd name="connsiteX3" fmla="*/ 0 w 24279"/>
                <a:gd name="connsiteY3" fmla="*/ 1661702 h 1661702"/>
                <a:gd name="connsiteX4" fmla="*/ 0 w 24279"/>
                <a:gd name="connsiteY4" fmla="*/ 0 h 166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61702">
                  <a:moveTo>
                    <a:pt x="0" y="0"/>
                  </a:moveTo>
                  <a:lnTo>
                    <a:pt x="24279" y="6469"/>
                  </a:lnTo>
                  <a:lnTo>
                    <a:pt x="24279" y="1655233"/>
                  </a:lnTo>
                  <a:lnTo>
                    <a:pt x="0" y="166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6" name="Freeform: Shape 15">
              <a:extLst>
                <a:ext uri="{FF2B5EF4-FFF2-40B4-BE49-F238E27FC236}">
                  <a16:creationId xmlns:a16="http://schemas.microsoft.com/office/drawing/2014/main" id="{1B33D784-220E-4A1A-906F-BA996BC1779A}"/>
                </a:ext>
              </a:extLst>
            </p:cNvPr>
            <p:cNvSpPr/>
            <p:nvPr userDrawn="1"/>
          </p:nvSpPr>
          <p:spPr>
            <a:xfrm rot="10800000">
              <a:off x="11999067" y="3210027"/>
              <a:ext cx="8713" cy="2235625"/>
            </a:xfrm>
            <a:custGeom>
              <a:avLst/>
              <a:gdLst>
                <a:gd name="connsiteX0" fmla="*/ 0 w 24279"/>
                <a:gd name="connsiteY0" fmla="*/ 0 h 1631310"/>
                <a:gd name="connsiteX1" fmla="*/ 24279 w 24279"/>
                <a:gd name="connsiteY1" fmla="*/ 6469 h 1631310"/>
                <a:gd name="connsiteX2" fmla="*/ 24279 w 24279"/>
                <a:gd name="connsiteY2" fmla="*/ 1624841 h 1631310"/>
                <a:gd name="connsiteX3" fmla="*/ 0 w 24279"/>
                <a:gd name="connsiteY3" fmla="*/ 1631310 h 1631310"/>
                <a:gd name="connsiteX4" fmla="*/ 0 w 24279"/>
                <a:gd name="connsiteY4" fmla="*/ 0 h 1631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31310">
                  <a:moveTo>
                    <a:pt x="0" y="0"/>
                  </a:moveTo>
                  <a:lnTo>
                    <a:pt x="24279" y="6469"/>
                  </a:lnTo>
                  <a:lnTo>
                    <a:pt x="24279" y="1624841"/>
                  </a:lnTo>
                  <a:lnTo>
                    <a:pt x="0" y="16313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7" name="Freeform: Shape 16">
              <a:extLst>
                <a:ext uri="{FF2B5EF4-FFF2-40B4-BE49-F238E27FC236}">
                  <a16:creationId xmlns:a16="http://schemas.microsoft.com/office/drawing/2014/main" id="{13992D15-FADD-40D4-9A24-324578C5C8AF}"/>
                </a:ext>
              </a:extLst>
            </p:cNvPr>
            <p:cNvSpPr/>
            <p:nvPr userDrawn="1"/>
          </p:nvSpPr>
          <p:spPr>
            <a:xfrm rot="10800000">
              <a:off x="11978598" y="3230852"/>
              <a:ext cx="8713" cy="2193974"/>
            </a:xfrm>
            <a:custGeom>
              <a:avLst/>
              <a:gdLst>
                <a:gd name="connsiteX0" fmla="*/ 0 w 24279"/>
                <a:gd name="connsiteY0" fmla="*/ 0 h 1600918"/>
                <a:gd name="connsiteX1" fmla="*/ 24279 w 24279"/>
                <a:gd name="connsiteY1" fmla="*/ 6469 h 1600918"/>
                <a:gd name="connsiteX2" fmla="*/ 24279 w 24279"/>
                <a:gd name="connsiteY2" fmla="*/ 1594449 h 1600918"/>
                <a:gd name="connsiteX3" fmla="*/ 0 w 24279"/>
                <a:gd name="connsiteY3" fmla="*/ 1600918 h 1600918"/>
                <a:gd name="connsiteX4" fmla="*/ 0 w 24279"/>
                <a:gd name="connsiteY4" fmla="*/ 0 h 1600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600918">
                  <a:moveTo>
                    <a:pt x="0" y="0"/>
                  </a:moveTo>
                  <a:lnTo>
                    <a:pt x="24279" y="6469"/>
                  </a:lnTo>
                  <a:lnTo>
                    <a:pt x="24279" y="1594449"/>
                  </a:lnTo>
                  <a:lnTo>
                    <a:pt x="0" y="160091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8" name="Freeform: Shape 17">
              <a:extLst>
                <a:ext uri="{FF2B5EF4-FFF2-40B4-BE49-F238E27FC236}">
                  <a16:creationId xmlns:a16="http://schemas.microsoft.com/office/drawing/2014/main" id="{C1A54117-65A1-45D7-98C7-2B60B99B4B3E}"/>
                </a:ext>
              </a:extLst>
            </p:cNvPr>
            <p:cNvSpPr/>
            <p:nvPr userDrawn="1"/>
          </p:nvSpPr>
          <p:spPr>
            <a:xfrm rot="10800000">
              <a:off x="11958129" y="3251679"/>
              <a:ext cx="8713" cy="2152322"/>
            </a:xfrm>
            <a:custGeom>
              <a:avLst/>
              <a:gdLst>
                <a:gd name="connsiteX0" fmla="*/ 0 w 24279"/>
                <a:gd name="connsiteY0" fmla="*/ 0 h 1570525"/>
                <a:gd name="connsiteX1" fmla="*/ 24279 w 24279"/>
                <a:gd name="connsiteY1" fmla="*/ 6469 h 1570525"/>
                <a:gd name="connsiteX2" fmla="*/ 24279 w 24279"/>
                <a:gd name="connsiteY2" fmla="*/ 1564057 h 1570525"/>
                <a:gd name="connsiteX3" fmla="*/ 0 w 24279"/>
                <a:gd name="connsiteY3" fmla="*/ 1570525 h 1570525"/>
                <a:gd name="connsiteX4" fmla="*/ 0 w 24279"/>
                <a:gd name="connsiteY4" fmla="*/ 0 h 15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70525">
                  <a:moveTo>
                    <a:pt x="0" y="0"/>
                  </a:moveTo>
                  <a:lnTo>
                    <a:pt x="24279" y="6469"/>
                  </a:lnTo>
                  <a:lnTo>
                    <a:pt x="24279" y="1564057"/>
                  </a:lnTo>
                  <a:lnTo>
                    <a:pt x="0" y="157052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19" name="Freeform: Shape 18">
              <a:extLst>
                <a:ext uri="{FF2B5EF4-FFF2-40B4-BE49-F238E27FC236}">
                  <a16:creationId xmlns:a16="http://schemas.microsoft.com/office/drawing/2014/main" id="{B71182A5-2E66-4580-B708-66AA7EC7F511}"/>
                </a:ext>
              </a:extLst>
            </p:cNvPr>
            <p:cNvSpPr/>
            <p:nvPr userDrawn="1"/>
          </p:nvSpPr>
          <p:spPr>
            <a:xfrm rot="10800000">
              <a:off x="11937661" y="3272504"/>
              <a:ext cx="8713" cy="2110672"/>
            </a:xfrm>
            <a:custGeom>
              <a:avLst/>
              <a:gdLst>
                <a:gd name="connsiteX0" fmla="*/ 0 w 24279"/>
                <a:gd name="connsiteY0" fmla="*/ 0 h 1540133"/>
                <a:gd name="connsiteX1" fmla="*/ 24279 w 24279"/>
                <a:gd name="connsiteY1" fmla="*/ 6469 h 1540133"/>
                <a:gd name="connsiteX2" fmla="*/ 24279 w 24279"/>
                <a:gd name="connsiteY2" fmla="*/ 1533665 h 1540133"/>
                <a:gd name="connsiteX3" fmla="*/ 0 w 24279"/>
                <a:gd name="connsiteY3" fmla="*/ 1540133 h 1540133"/>
                <a:gd name="connsiteX4" fmla="*/ 0 w 24279"/>
                <a:gd name="connsiteY4" fmla="*/ 0 h 1540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40133">
                  <a:moveTo>
                    <a:pt x="0" y="0"/>
                  </a:moveTo>
                  <a:lnTo>
                    <a:pt x="24279" y="6469"/>
                  </a:lnTo>
                  <a:lnTo>
                    <a:pt x="24279" y="1533665"/>
                  </a:lnTo>
                  <a:lnTo>
                    <a:pt x="0" y="154013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0" name="Freeform: Shape 19">
              <a:extLst>
                <a:ext uri="{FF2B5EF4-FFF2-40B4-BE49-F238E27FC236}">
                  <a16:creationId xmlns:a16="http://schemas.microsoft.com/office/drawing/2014/main" id="{AEF24992-81D8-4EFD-9715-09D216F6F802}"/>
                </a:ext>
              </a:extLst>
            </p:cNvPr>
            <p:cNvSpPr/>
            <p:nvPr userDrawn="1"/>
          </p:nvSpPr>
          <p:spPr>
            <a:xfrm rot="10800000">
              <a:off x="11917192" y="3293330"/>
              <a:ext cx="8713" cy="2069021"/>
            </a:xfrm>
            <a:custGeom>
              <a:avLst/>
              <a:gdLst>
                <a:gd name="connsiteX0" fmla="*/ 0 w 24279"/>
                <a:gd name="connsiteY0" fmla="*/ 0 h 1509741"/>
                <a:gd name="connsiteX1" fmla="*/ 24279 w 24279"/>
                <a:gd name="connsiteY1" fmla="*/ 6469 h 1509741"/>
                <a:gd name="connsiteX2" fmla="*/ 24279 w 24279"/>
                <a:gd name="connsiteY2" fmla="*/ 1503273 h 1509741"/>
                <a:gd name="connsiteX3" fmla="*/ 0 w 24279"/>
                <a:gd name="connsiteY3" fmla="*/ 1509741 h 1509741"/>
                <a:gd name="connsiteX4" fmla="*/ 0 w 24279"/>
                <a:gd name="connsiteY4" fmla="*/ 0 h 1509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509741">
                  <a:moveTo>
                    <a:pt x="0" y="0"/>
                  </a:moveTo>
                  <a:lnTo>
                    <a:pt x="24279" y="6469"/>
                  </a:lnTo>
                  <a:lnTo>
                    <a:pt x="24279" y="1503273"/>
                  </a:lnTo>
                  <a:lnTo>
                    <a:pt x="0" y="150974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1" name="Freeform: Shape 20">
              <a:extLst>
                <a:ext uri="{FF2B5EF4-FFF2-40B4-BE49-F238E27FC236}">
                  <a16:creationId xmlns:a16="http://schemas.microsoft.com/office/drawing/2014/main" id="{9334F821-C787-4188-888D-5838E07FB5AB}"/>
                </a:ext>
              </a:extLst>
            </p:cNvPr>
            <p:cNvSpPr/>
            <p:nvPr userDrawn="1"/>
          </p:nvSpPr>
          <p:spPr>
            <a:xfrm rot="10800000">
              <a:off x="11896723" y="3314155"/>
              <a:ext cx="8713" cy="2027370"/>
            </a:xfrm>
            <a:custGeom>
              <a:avLst/>
              <a:gdLst>
                <a:gd name="connsiteX0" fmla="*/ 0 w 24279"/>
                <a:gd name="connsiteY0" fmla="*/ 0 h 1479349"/>
                <a:gd name="connsiteX1" fmla="*/ 24279 w 24279"/>
                <a:gd name="connsiteY1" fmla="*/ 6469 h 1479349"/>
                <a:gd name="connsiteX2" fmla="*/ 24279 w 24279"/>
                <a:gd name="connsiteY2" fmla="*/ 1472881 h 1479349"/>
                <a:gd name="connsiteX3" fmla="*/ 0 w 24279"/>
                <a:gd name="connsiteY3" fmla="*/ 1479349 h 1479349"/>
                <a:gd name="connsiteX4" fmla="*/ 0 w 24279"/>
                <a:gd name="connsiteY4" fmla="*/ 0 h 1479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79349">
                  <a:moveTo>
                    <a:pt x="0" y="0"/>
                  </a:moveTo>
                  <a:lnTo>
                    <a:pt x="24279" y="6469"/>
                  </a:lnTo>
                  <a:lnTo>
                    <a:pt x="24279" y="1472881"/>
                  </a:lnTo>
                  <a:lnTo>
                    <a:pt x="0" y="147934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2" name="Freeform: Shape 21">
              <a:extLst>
                <a:ext uri="{FF2B5EF4-FFF2-40B4-BE49-F238E27FC236}">
                  <a16:creationId xmlns:a16="http://schemas.microsoft.com/office/drawing/2014/main" id="{37AC97A5-A491-446B-849A-34DE725F2706}"/>
                </a:ext>
              </a:extLst>
            </p:cNvPr>
            <p:cNvSpPr/>
            <p:nvPr userDrawn="1"/>
          </p:nvSpPr>
          <p:spPr>
            <a:xfrm rot="10800000">
              <a:off x="11876254" y="3334980"/>
              <a:ext cx="8713" cy="1985720"/>
            </a:xfrm>
            <a:custGeom>
              <a:avLst/>
              <a:gdLst>
                <a:gd name="connsiteX0" fmla="*/ 0 w 24279"/>
                <a:gd name="connsiteY0" fmla="*/ 0 h 1448957"/>
                <a:gd name="connsiteX1" fmla="*/ 24279 w 24279"/>
                <a:gd name="connsiteY1" fmla="*/ 6469 h 1448957"/>
                <a:gd name="connsiteX2" fmla="*/ 24279 w 24279"/>
                <a:gd name="connsiteY2" fmla="*/ 1442488 h 1448957"/>
                <a:gd name="connsiteX3" fmla="*/ 0 w 24279"/>
                <a:gd name="connsiteY3" fmla="*/ 1448957 h 1448957"/>
                <a:gd name="connsiteX4" fmla="*/ 0 w 24279"/>
                <a:gd name="connsiteY4" fmla="*/ 0 h 144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48957">
                  <a:moveTo>
                    <a:pt x="0" y="0"/>
                  </a:moveTo>
                  <a:lnTo>
                    <a:pt x="24279" y="6469"/>
                  </a:lnTo>
                  <a:lnTo>
                    <a:pt x="24279" y="1442488"/>
                  </a:lnTo>
                  <a:lnTo>
                    <a:pt x="0" y="144895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3" name="Freeform: Shape 22">
              <a:extLst>
                <a:ext uri="{FF2B5EF4-FFF2-40B4-BE49-F238E27FC236}">
                  <a16:creationId xmlns:a16="http://schemas.microsoft.com/office/drawing/2014/main" id="{D1328B1F-983A-4D41-B4A3-BDD8BB31A65D}"/>
                </a:ext>
              </a:extLst>
            </p:cNvPr>
            <p:cNvSpPr/>
            <p:nvPr userDrawn="1"/>
          </p:nvSpPr>
          <p:spPr>
            <a:xfrm rot="10800000">
              <a:off x="11855786" y="3355806"/>
              <a:ext cx="8713" cy="1944068"/>
            </a:xfrm>
            <a:custGeom>
              <a:avLst/>
              <a:gdLst>
                <a:gd name="connsiteX0" fmla="*/ 0 w 24279"/>
                <a:gd name="connsiteY0" fmla="*/ 0 h 1418564"/>
                <a:gd name="connsiteX1" fmla="*/ 24279 w 24279"/>
                <a:gd name="connsiteY1" fmla="*/ 6468 h 1418564"/>
                <a:gd name="connsiteX2" fmla="*/ 24279 w 24279"/>
                <a:gd name="connsiteY2" fmla="*/ 1412095 h 1418564"/>
                <a:gd name="connsiteX3" fmla="*/ 0 w 24279"/>
                <a:gd name="connsiteY3" fmla="*/ 1418564 h 1418564"/>
                <a:gd name="connsiteX4" fmla="*/ 0 w 24279"/>
                <a:gd name="connsiteY4" fmla="*/ 0 h 1418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18564">
                  <a:moveTo>
                    <a:pt x="0" y="0"/>
                  </a:moveTo>
                  <a:lnTo>
                    <a:pt x="24279" y="6468"/>
                  </a:lnTo>
                  <a:lnTo>
                    <a:pt x="24279" y="1412095"/>
                  </a:lnTo>
                  <a:lnTo>
                    <a:pt x="0" y="141856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4" name="Freeform: Shape 23">
              <a:extLst>
                <a:ext uri="{FF2B5EF4-FFF2-40B4-BE49-F238E27FC236}">
                  <a16:creationId xmlns:a16="http://schemas.microsoft.com/office/drawing/2014/main" id="{88EDDCBC-D795-406B-91FE-A379F4281C77}"/>
                </a:ext>
              </a:extLst>
            </p:cNvPr>
            <p:cNvSpPr/>
            <p:nvPr userDrawn="1"/>
          </p:nvSpPr>
          <p:spPr>
            <a:xfrm rot="10800000">
              <a:off x="11835317" y="3376631"/>
              <a:ext cx="8713" cy="1902417"/>
            </a:xfrm>
            <a:custGeom>
              <a:avLst/>
              <a:gdLst>
                <a:gd name="connsiteX0" fmla="*/ 0 w 24279"/>
                <a:gd name="connsiteY0" fmla="*/ 0 h 1388172"/>
                <a:gd name="connsiteX1" fmla="*/ 24279 w 24279"/>
                <a:gd name="connsiteY1" fmla="*/ 6468 h 1388172"/>
                <a:gd name="connsiteX2" fmla="*/ 24279 w 24279"/>
                <a:gd name="connsiteY2" fmla="*/ 1381703 h 1388172"/>
                <a:gd name="connsiteX3" fmla="*/ 0 w 24279"/>
                <a:gd name="connsiteY3" fmla="*/ 1388172 h 1388172"/>
                <a:gd name="connsiteX4" fmla="*/ 0 w 24279"/>
                <a:gd name="connsiteY4" fmla="*/ 0 h 138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88172">
                  <a:moveTo>
                    <a:pt x="0" y="0"/>
                  </a:moveTo>
                  <a:lnTo>
                    <a:pt x="24279" y="6468"/>
                  </a:lnTo>
                  <a:lnTo>
                    <a:pt x="24279" y="1381703"/>
                  </a:lnTo>
                  <a:lnTo>
                    <a:pt x="0" y="13881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5" name="Freeform: Shape 24">
              <a:extLst>
                <a:ext uri="{FF2B5EF4-FFF2-40B4-BE49-F238E27FC236}">
                  <a16:creationId xmlns:a16="http://schemas.microsoft.com/office/drawing/2014/main" id="{61CE20CC-B219-408F-BD96-BA64595B9682}"/>
                </a:ext>
              </a:extLst>
            </p:cNvPr>
            <p:cNvSpPr/>
            <p:nvPr userDrawn="1"/>
          </p:nvSpPr>
          <p:spPr>
            <a:xfrm rot="10800000">
              <a:off x="11814848" y="3397456"/>
              <a:ext cx="8713" cy="1860766"/>
            </a:xfrm>
            <a:custGeom>
              <a:avLst/>
              <a:gdLst>
                <a:gd name="connsiteX0" fmla="*/ 0 w 24279"/>
                <a:gd name="connsiteY0" fmla="*/ 0 h 1357780"/>
                <a:gd name="connsiteX1" fmla="*/ 24279 w 24279"/>
                <a:gd name="connsiteY1" fmla="*/ 6468 h 1357780"/>
                <a:gd name="connsiteX2" fmla="*/ 24279 w 24279"/>
                <a:gd name="connsiteY2" fmla="*/ 1351311 h 1357780"/>
                <a:gd name="connsiteX3" fmla="*/ 0 w 24279"/>
                <a:gd name="connsiteY3" fmla="*/ 1357780 h 1357780"/>
                <a:gd name="connsiteX4" fmla="*/ 0 w 24279"/>
                <a:gd name="connsiteY4" fmla="*/ 0 h 135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57780">
                  <a:moveTo>
                    <a:pt x="0" y="0"/>
                  </a:moveTo>
                  <a:lnTo>
                    <a:pt x="24279" y="6468"/>
                  </a:lnTo>
                  <a:lnTo>
                    <a:pt x="24279" y="1351311"/>
                  </a:lnTo>
                  <a:lnTo>
                    <a:pt x="0" y="13577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6" name="Freeform: Shape 25">
              <a:extLst>
                <a:ext uri="{FF2B5EF4-FFF2-40B4-BE49-F238E27FC236}">
                  <a16:creationId xmlns:a16="http://schemas.microsoft.com/office/drawing/2014/main" id="{616AB709-1754-4A04-8561-C704F49AF6DB}"/>
                </a:ext>
              </a:extLst>
            </p:cNvPr>
            <p:cNvSpPr/>
            <p:nvPr userDrawn="1"/>
          </p:nvSpPr>
          <p:spPr>
            <a:xfrm rot="10800000">
              <a:off x="11794379" y="3418281"/>
              <a:ext cx="8713" cy="1819116"/>
            </a:xfrm>
            <a:custGeom>
              <a:avLst/>
              <a:gdLst>
                <a:gd name="connsiteX0" fmla="*/ 0 w 24279"/>
                <a:gd name="connsiteY0" fmla="*/ 0 h 1327388"/>
                <a:gd name="connsiteX1" fmla="*/ 24279 w 24279"/>
                <a:gd name="connsiteY1" fmla="*/ 6469 h 1327388"/>
                <a:gd name="connsiteX2" fmla="*/ 24279 w 24279"/>
                <a:gd name="connsiteY2" fmla="*/ 1320919 h 1327388"/>
                <a:gd name="connsiteX3" fmla="*/ 0 w 24279"/>
                <a:gd name="connsiteY3" fmla="*/ 1327388 h 1327388"/>
                <a:gd name="connsiteX4" fmla="*/ 0 w 24279"/>
                <a:gd name="connsiteY4" fmla="*/ 0 h 1327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327388">
                  <a:moveTo>
                    <a:pt x="0" y="0"/>
                  </a:moveTo>
                  <a:lnTo>
                    <a:pt x="24279" y="6469"/>
                  </a:lnTo>
                  <a:lnTo>
                    <a:pt x="24279" y="1320919"/>
                  </a:lnTo>
                  <a:lnTo>
                    <a:pt x="0" y="132738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7" name="Freeform: Shape 26">
              <a:extLst>
                <a:ext uri="{FF2B5EF4-FFF2-40B4-BE49-F238E27FC236}">
                  <a16:creationId xmlns:a16="http://schemas.microsoft.com/office/drawing/2014/main" id="{19C6F8EF-868A-40A4-AB66-F503480691D7}"/>
                </a:ext>
              </a:extLst>
            </p:cNvPr>
            <p:cNvSpPr/>
            <p:nvPr userDrawn="1"/>
          </p:nvSpPr>
          <p:spPr>
            <a:xfrm rot="10800000">
              <a:off x="11773911" y="3439107"/>
              <a:ext cx="8713" cy="1777465"/>
            </a:xfrm>
            <a:custGeom>
              <a:avLst/>
              <a:gdLst>
                <a:gd name="connsiteX0" fmla="*/ 0 w 24279"/>
                <a:gd name="connsiteY0" fmla="*/ 0 h 1296996"/>
                <a:gd name="connsiteX1" fmla="*/ 24279 w 24279"/>
                <a:gd name="connsiteY1" fmla="*/ 6469 h 1296996"/>
                <a:gd name="connsiteX2" fmla="*/ 24279 w 24279"/>
                <a:gd name="connsiteY2" fmla="*/ 1290527 h 1296996"/>
                <a:gd name="connsiteX3" fmla="*/ 0 w 24279"/>
                <a:gd name="connsiteY3" fmla="*/ 1296996 h 1296996"/>
                <a:gd name="connsiteX4" fmla="*/ 0 w 24279"/>
                <a:gd name="connsiteY4" fmla="*/ 0 h 129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96996">
                  <a:moveTo>
                    <a:pt x="0" y="0"/>
                  </a:moveTo>
                  <a:lnTo>
                    <a:pt x="24279" y="6469"/>
                  </a:lnTo>
                  <a:lnTo>
                    <a:pt x="24279" y="1290527"/>
                  </a:lnTo>
                  <a:lnTo>
                    <a:pt x="0" y="129699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8" name="Freeform: Shape 27">
              <a:extLst>
                <a:ext uri="{FF2B5EF4-FFF2-40B4-BE49-F238E27FC236}">
                  <a16:creationId xmlns:a16="http://schemas.microsoft.com/office/drawing/2014/main" id="{238FD680-03D8-4630-B6FC-C29A5106F799}"/>
                </a:ext>
              </a:extLst>
            </p:cNvPr>
            <p:cNvSpPr/>
            <p:nvPr userDrawn="1"/>
          </p:nvSpPr>
          <p:spPr>
            <a:xfrm rot="10800000">
              <a:off x="11753442" y="3459932"/>
              <a:ext cx="8713" cy="1735814"/>
            </a:xfrm>
            <a:custGeom>
              <a:avLst/>
              <a:gdLst>
                <a:gd name="connsiteX0" fmla="*/ 0 w 24279"/>
                <a:gd name="connsiteY0" fmla="*/ 0 h 1266604"/>
                <a:gd name="connsiteX1" fmla="*/ 24279 w 24279"/>
                <a:gd name="connsiteY1" fmla="*/ 6469 h 1266604"/>
                <a:gd name="connsiteX2" fmla="*/ 24279 w 24279"/>
                <a:gd name="connsiteY2" fmla="*/ 1260135 h 1266604"/>
                <a:gd name="connsiteX3" fmla="*/ 0 w 24279"/>
                <a:gd name="connsiteY3" fmla="*/ 1266604 h 1266604"/>
                <a:gd name="connsiteX4" fmla="*/ 0 w 24279"/>
                <a:gd name="connsiteY4" fmla="*/ 0 h 126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66604">
                  <a:moveTo>
                    <a:pt x="0" y="0"/>
                  </a:moveTo>
                  <a:lnTo>
                    <a:pt x="24279" y="6469"/>
                  </a:lnTo>
                  <a:lnTo>
                    <a:pt x="24279" y="1260135"/>
                  </a:lnTo>
                  <a:lnTo>
                    <a:pt x="0" y="126660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29" name="Freeform: Shape 28">
              <a:extLst>
                <a:ext uri="{FF2B5EF4-FFF2-40B4-BE49-F238E27FC236}">
                  <a16:creationId xmlns:a16="http://schemas.microsoft.com/office/drawing/2014/main" id="{C95D86DC-44C1-47F0-AF2A-CB04F6DF0942}"/>
                </a:ext>
              </a:extLst>
            </p:cNvPr>
            <p:cNvSpPr/>
            <p:nvPr userDrawn="1"/>
          </p:nvSpPr>
          <p:spPr>
            <a:xfrm rot="10800000">
              <a:off x="11732973" y="3480757"/>
              <a:ext cx="8713" cy="1694164"/>
            </a:xfrm>
            <a:custGeom>
              <a:avLst/>
              <a:gdLst>
                <a:gd name="connsiteX0" fmla="*/ 0 w 24279"/>
                <a:gd name="connsiteY0" fmla="*/ 0 h 1236212"/>
                <a:gd name="connsiteX1" fmla="*/ 24279 w 24279"/>
                <a:gd name="connsiteY1" fmla="*/ 6469 h 1236212"/>
                <a:gd name="connsiteX2" fmla="*/ 24279 w 24279"/>
                <a:gd name="connsiteY2" fmla="*/ 1229743 h 1236212"/>
                <a:gd name="connsiteX3" fmla="*/ 0 w 24279"/>
                <a:gd name="connsiteY3" fmla="*/ 1236212 h 1236212"/>
                <a:gd name="connsiteX4" fmla="*/ 0 w 24279"/>
                <a:gd name="connsiteY4" fmla="*/ 0 h 123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36212">
                  <a:moveTo>
                    <a:pt x="0" y="0"/>
                  </a:moveTo>
                  <a:lnTo>
                    <a:pt x="24279" y="6469"/>
                  </a:lnTo>
                  <a:lnTo>
                    <a:pt x="24279" y="1229743"/>
                  </a:lnTo>
                  <a:lnTo>
                    <a:pt x="0" y="123621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0" name="Freeform: Shape 29">
              <a:extLst>
                <a:ext uri="{FF2B5EF4-FFF2-40B4-BE49-F238E27FC236}">
                  <a16:creationId xmlns:a16="http://schemas.microsoft.com/office/drawing/2014/main" id="{32DA7A4F-46BD-4707-BCCB-D2921700C8BF}"/>
                </a:ext>
              </a:extLst>
            </p:cNvPr>
            <p:cNvSpPr/>
            <p:nvPr userDrawn="1"/>
          </p:nvSpPr>
          <p:spPr>
            <a:xfrm rot="10800000">
              <a:off x="11712504" y="3501583"/>
              <a:ext cx="8713" cy="1652513"/>
            </a:xfrm>
            <a:custGeom>
              <a:avLst/>
              <a:gdLst>
                <a:gd name="connsiteX0" fmla="*/ 0 w 24279"/>
                <a:gd name="connsiteY0" fmla="*/ 0 h 1205820"/>
                <a:gd name="connsiteX1" fmla="*/ 24279 w 24279"/>
                <a:gd name="connsiteY1" fmla="*/ 6469 h 1205820"/>
                <a:gd name="connsiteX2" fmla="*/ 24279 w 24279"/>
                <a:gd name="connsiteY2" fmla="*/ 1199351 h 1205820"/>
                <a:gd name="connsiteX3" fmla="*/ 0 w 24279"/>
                <a:gd name="connsiteY3" fmla="*/ 1205820 h 1205820"/>
                <a:gd name="connsiteX4" fmla="*/ 0 w 24279"/>
                <a:gd name="connsiteY4" fmla="*/ 0 h 120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205820">
                  <a:moveTo>
                    <a:pt x="0" y="0"/>
                  </a:moveTo>
                  <a:lnTo>
                    <a:pt x="24279" y="6469"/>
                  </a:lnTo>
                  <a:lnTo>
                    <a:pt x="24279" y="1199351"/>
                  </a:lnTo>
                  <a:lnTo>
                    <a:pt x="0" y="120582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1" name="Freeform: Shape 30">
              <a:extLst>
                <a:ext uri="{FF2B5EF4-FFF2-40B4-BE49-F238E27FC236}">
                  <a16:creationId xmlns:a16="http://schemas.microsoft.com/office/drawing/2014/main" id="{453979CF-AF6B-42F2-B68B-49CD12070587}"/>
                </a:ext>
              </a:extLst>
            </p:cNvPr>
            <p:cNvSpPr/>
            <p:nvPr userDrawn="1"/>
          </p:nvSpPr>
          <p:spPr>
            <a:xfrm rot="10800000">
              <a:off x="11692036" y="3522408"/>
              <a:ext cx="8713" cy="1610862"/>
            </a:xfrm>
            <a:custGeom>
              <a:avLst/>
              <a:gdLst>
                <a:gd name="connsiteX0" fmla="*/ 0 w 24279"/>
                <a:gd name="connsiteY0" fmla="*/ 0 h 1175428"/>
                <a:gd name="connsiteX1" fmla="*/ 24279 w 24279"/>
                <a:gd name="connsiteY1" fmla="*/ 6469 h 1175428"/>
                <a:gd name="connsiteX2" fmla="*/ 24279 w 24279"/>
                <a:gd name="connsiteY2" fmla="*/ 1168959 h 1175428"/>
                <a:gd name="connsiteX3" fmla="*/ 0 w 24279"/>
                <a:gd name="connsiteY3" fmla="*/ 1175428 h 1175428"/>
                <a:gd name="connsiteX4" fmla="*/ 0 w 24279"/>
                <a:gd name="connsiteY4" fmla="*/ 0 h 1175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75428">
                  <a:moveTo>
                    <a:pt x="0" y="0"/>
                  </a:moveTo>
                  <a:lnTo>
                    <a:pt x="24279" y="6469"/>
                  </a:lnTo>
                  <a:lnTo>
                    <a:pt x="24279" y="1168959"/>
                  </a:lnTo>
                  <a:lnTo>
                    <a:pt x="0" y="117542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2" name="Freeform: Shape 31">
              <a:extLst>
                <a:ext uri="{FF2B5EF4-FFF2-40B4-BE49-F238E27FC236}">
                  <a16:creationId xmlns:a16="http://schemas.microsoft.com/office/drawing/2014/main" id="{63770C31-F5AA-430A-BA90-A12AAC5123C2}"/>
                </a:ext>
              </a:extLst>
            </p:cNvPr>
            <p:cNvSpPr/>
            <p:nvPr userDrawn="1"/>
          </p:nvSpPr>
          <p:spPr>
            <a:xfrm rot="10800000">
              <a:off x="11671567" y="3543235"/>
              <a:ext cx="8713" cy="1569210"/>
            </a:xfrm>
            <a:custGeom>
              <a:avLst/>
              <a:gdLst>
                <a:gd name="connsiteX0" fmla="*/ 0 w 24279"/>
                <a:gd name="connsiteY0" fmla="*/ 0 h 1145035"/>
                <a:gd name="connsiteX1" fmla="*/ 24279 w 24279"/>
                <a:gd name="connsiteY1" fmla="*/ 6469 h 1145035"/>
                <a:gd name="connsiteX2" fmla="*/ 24279 w 24279"/>
                <a:gd name="connsiteY2" fmla="*/ 1138567 h 1145035"/>
                <a:gd name="connsiteX3" fmla="*/ 0 w 24279"/>
                <a:gd name="connsiteY3" fmla="*/ 1145035 h 1145035"/>
                <a:gd name="connsiteX4" fmla="*/ 0 w 24279"/>
                <a:gd name="connsiteY4" fmla="*/ 0 h 1145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45035">
                  <a:moveTo>
                    <a:pt x="0" y="0"/>
                  </a:moveTo>
                  <a:lnTo>
                    <a:pt x="24279" y="6469"/>
                  </a:lnTo>
                  <a:lnTo>
                    <a:pt x="24279" y="1138567"/>
                  </a:lnTo>
                  <a:lnTo>
                    <a:pt x="0" y="114503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3" name="Freeform: Shape 32">
              <a:extLst>
                <a:ext uri="{FF2B5EF4-FFF2-40B4-BE49-F238E27FC236}">
                  <a16:creationId xmlns:a16="http://schemas.microsoft.com/office/drawing/2014/main" id="{27FED39B-67DD-45EE-8006-3BCFA199F2DA}"/>
                </a:ext>
              </a:extLst>
            </p:cNvPr>
            <p:cNvSpPr/>
            <p:nvPr userDrawn="1"/>
          </p:nvSpPr>
          <p:spPr>
            <a:xfrm rot="10800000">
              <a:off x="11651098" y="3564060"/>
              <a:ext cx="8713" cy="1527560"/>
            </a:xfrm>
            <a:custGeom>
              <a:avLst/>
              <a:gdLst>
                <a:gd name="connsiteX0" fmla="*/ 0 w 24279"/>
                <a:gd name="connsiteY0" fmla="*/ 0 h 1114643"/>
                <a:gd name="connsiteX1" fmla="*/ 24279 w 24279"/>
                <a:gd name="connsiteY1" fmla="*/ 6469 h 1114643"/>
                <a:gd name="connsiteX2" fmla="*/ 24279 w 24279"/>
                <a:gd name="connsiteY2" fmla="*/ 1108175 h 1114643"/>
                <a:gd name="connsiteX3" fmla="*/ 0 w 24279"/>
                <a:gd name="connsiteY3" fmla="*/ 1114643 h 1114643"/>
                <a:gd name="connsiteX4" fmla="*/ 0 w 24279"/>
                <a:gd name="connsiteY4" fmla="*/ 0 h 1114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4643">
                  <a:moveTo>
                    <a:pt x="0" y="0"/>
                  </a:moveTo>
                  <a:lnTo>
                    <a:pt x="24279" y="6469"/>
                  </a:lnTo>
                  <a:lnTo>
                    <a:pt x="24279" y="1108175"/>
                  </a:lnTo>
                  <a:lnTo>
                    <a:pt x="0" y="11146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4" name="Freeform: Shape 33">
              <a:extLst>
                <a:ext uri="{FF2B5EF4-FFF2-40B4-BE49-F238E27FC236}">
                  <a16:creationId xmlns:a16="http://schemas.microsoft.com/office/drawing/2014/main" id="{28A08D69-71E4-40FD-8869-4D0AD30EA7B2}"/>
                </a:ext>
              </a:extLst>
            </p:cNvPr>
            <p:cNvSpPr/>
            <p:nvPr userDrawn="1"/>
          </p:nvSpPr>
          <p:spPr>
            <a:xfrm rot="10800000">
              <a:off x="11630629" y="3584885"/>
              <a:ext cx="8713" cy="1485909"/>
            </a:xfrm>
            <a:custGeom>
              <a:avLst/>
              <a:gdLst>
                <a:gd name="connsiteX0" fmla="*/ 0 w 24279"/>
                <a:gd name="connsiteY0" fmla="*/ 0 h 1084251"/>
                <a:gd name="connsiteX1" fmla="*/ 24279 w 24279"/>
                <a:gd name="connsiteY1" fmla="*/ 6469 h 1084251"/>
                <a:gd name="connsiteX2" fmla="*/ 24279 w 24279"/>
                <a:gd name="connsiteY2" fmla="*/ 1077783 h 1084251"/>
                <a:gd name="connsiteX3" fmla="*/ 0 w 24279"/>
                <a:gd name="connsiteY3" fmla="*/ 1084251 h 1084251"/>
                <a:gd name="connsiteX4" fmla="*/ 0 w 24279"/>
                <a:gd name="connsiteY4" fmla="*/ 0 h 108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84251">
                  <a:moveTo>
                    <a:pt x="0" y="0"/>
                  </a:moveTo>
                  <a:lnTo>
                    <a:pt x="24279" y="6469"/>
                  </a:lnTo>
                  <a:lnTo>
                    <a:pt x="24279" y="1077783"/>
                  </a:lnTo>
                  <a:lnTo>
                    <a:pt x="0" y="108425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5" name="Freeform: Shape 34">
              <a:extLst>
                <a:ext uri="{FF2B5EF4-FFF2-40B4-BE49-F238E27FC236}">
                  <a16:creationId xmlns:a16="http://schemas.microsoft.com/office/drawing/2014/main" id="{8F0C8ED6-3211-4431-9693-8DC4F19E9DCF}"/>
                </a:ext>
              </a:extLst>
            </p:cNvPr>
            <p:cNvSpPr/>
            <p:nvPr userDrawn="1"/>
          </p:nvSpPr>
          <p:spPr>
            <a:xfrm rot="10800000">
              <a:off x="11610161" y="3605711"/>
              <a:ext cx="8713" cy="1444257"/>
            </a:xfrm>
            <a:custGeom>
              <a:avLst/>
              <a:gdLst>
                <a:gd name="connsiteX0" fmla="*/ 0 w 24279"/>
                <a:gd name="connsiteY0" fmla="*/ 0 h 1053858"/>
                <a:gd name="connsiteX1" fmla="*/ 24279 w 24279"/>
                <a:gd name="connsiteY1" fmla="*/ 6468 h 1053858"/>
                <a:gd name="connsiteX2" fmla="*/ 24279 w 24279"/>
                <a:gd name="connsiteY2" fmla="*/ 1047389 h 1053858"/>
                <a:gd name="connsiteX3" fmla="*/ 0 w 24279"/>
                <a:gd name="connsiteY3" fmla="*/ 1053858 h 1053858"/>
                <a:gd name="connsiteX4" fmla="*/ 0 w 24279"/>
                <a:gd name="connsiteY4" fmla="*/ 0 h 1053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53858">
                  <a:moveTo>
                    <a:pt x="0" y="0"/>
                  </a:moveTo>
                  <a:lnTo>
                    <a:pt x="24279" y="6468"/>
                  </a:lnTo>
                  <a:lnTo>
                    <a:pt x="24279" y="1047389"/>
                  </a:lnTo>
                  <a:lnTo>
                    <a:pt x="0" y="105385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6" name="Freeform: Shape 35">
              <a:extLst>
                <a:ext uri="{FF2B5EF4-FFF2-40B4-BE49-F238E27FC236}">
                  <a16:creationId xmlns:a16="http://schemas.microsoft.com/office/drawing/2014/main" id="{F6BD1F19-AF0A-4C33-871A-0CDDF477C7DB}"/>
                </a:ext>
              </a:extLst>
            </p:cNvPr>
            <p:cNvSpPr/>
            <p:nvPr userDrawn="1"/>
          </p:nvSpPr>
          <p:spPr>
            <a:xfrm rot="10800000">
              <a:off x="11589692" y="3626536"/>
              <a:ext cx="8713" cy="1402607"/>
            </a:xfrm>
            <a:custGeom>
              <a:avLst/>
              <a:gdLst>
                <a:gd name="connsiteX0" fmla="*/ 0 w 24279"/>
                <a:gd name="connsiteY0" fmla="*/ 0 h 1023466"/>
                <a:gd name="connsiteX1" fmla="*/ 24279 w 24279"/>
                <a:gd name="connsiteY1" fmla="*/ 6468 h 1023466"/>
                <a:gd name="connsiteX2" fmla="*/ 24279 w 24279"/>
                <a:gd name="connsiteY2" fmla="*/ 1016997 h 1023466"/>
                <a:gd name="connsiteX3" fmla="*/ 0 w 24279"/>
                <a:gd name="connsiteY3" fmla="*/ 1023466 h 1023466"/>
                <a:gd name="connsiteX4" fmla="*/ 0 w 24279"/>
                <a:gd name="connsiteY4" fmla="*/ 0 h 102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023466">
                  <a:moveTo>
                    <a:pt x="0" y="0"/>
                  </a:moveTo>
                  <a:lnTo>
                    <a:pt x="24279" y="6468"/>
                  </a:lnTo>
                  <a:lnTo>
                    <a:pt x="24279" y="1016997"/>
                  </a:lnTo>
                  <a:lnTo>
                    <a:pt x="0" y="102346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7" name="Freeform: Shape 36">
              <a:extLst>
                <a:ext uri="{FF2B5EF4-FFF2-40B4-BE49-F238E27FC236}">
                  <a16:creationId xmlns:a16="http://schemas.microsoft.com/office/drawing/2014/main" id="{D6936C94-6CAB-4987-8A68-5949A299B2DC}"/>
                </a:ext>
              </a:extLst>
            </p:cNvPr>
            <p:cNvSpPr/>
            <p:nvPr userDrawn="1"/>
          </p:nvSpPr>
          <p:spPr>
            <a:xfrm rot="10800000">
              <a:off x="11569223" y="3647361"/>
              <a:ext cx="8713" cy="1360956"/>
            </a:xfrm>
            <a:custGeom>
              <a:avLst/>
              <a:gdLst>
                <a:gd name="connsiteX0" fmla="*/ 0 w 24279"/>
                <a:gd name="connsiteY0" fmla="*/ 0 h 993074"/>
                <a:gd name="connsiteX1" fmla="*/ 24279 w 24279"/>
                <a:gd name="connsiteY1" fmla="*/ 6469 h 993074"/>
                <a:gd name="connsiteX2" fmla="*/ 24279 w 24279"/>
                <a:gd name="connsiteY2" fmla="*/ 986605 h 993074"/>
                <a:gd name="connsiteX3" fmla="*/ 0 w 24279"/>
                <a:gd name="connsiteY3" fmla="*/ 993074 h 993074"/>
                <a:gd name="connsiteX4" fmla="*/ 0 w 24279"/>
                <a:gd name="connsiteY4" fmla="*/ 0 h 99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93074">
                  <a:moveTo>
                    <a:pt x="0" y="0"/>
                  </a:moveTo>
                  <a:lnTo>
                    <a:pt x="24279" y="6469"/>
                  </a:lnTo>
                  <a:lnTo>
                    <a:pt x="24279" y="986605"/>
                  </a:lnTo>
                  <a:lnTo>
                    <a:pt x="0" y="99307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8" name="Freeform: Shape 37">
              <a:extLst>
                <a:ext uri="{FF2B5EF4-FFF2-40B4-BE49-F238E27FC236}">
                  <a16:creationId xmlns:a16="http://schemas.microsoft.com/office/drawing/2014/main" id="{5EDBEB9B-44F8-44A1-B5EE-D6778CA69BF5}"/>
                </a:ext>
              </a:extLst>
            </p:cNvPr>
            <p:cNvSpPr/>
            <p:nvPr userDrawn="1"/>
          </p:nvSpPr>
          <p:spPr>
            <a:xfrm rot="10800000">
              <a:off x="11548754" y="3668187"/>
              <a:ext cx="8713" cy="1319305"/>
            </a:xfrm>
            <a:custGeom>
              <a:avLst/>
              <a:gdLst>
                <a:gd name="connsiteX0" fmla="*/ 0 w 24279"/>
                <a:gd name="connsiteY0" fmla="*/ 0 h 962682"/>
                <a:gd name="connsiteX1" fmla="*/ 24279 w 24279"/>
                <a:gd name="connsiteY1" fmla="*/ 6469 h 962682"/>
                <a:gd name="connsiteX2" fmla="*/ 24279 w 24279"/>
                <a:gd name="connsiteY2" fmla="*/ 956213 h 962682"/>
                <a:gd name="connsiteX3" fmla="*/ 0 w 24279"/>
                <a:gd name="connsiteY3" fmla="*/ 962682 h 962682"/>
                <a:gd name="connsiteX4" fmla="*/ 0 w 24279"/>
                <a:gd name="connsiteY4" fmla="*/ 0 h 962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62682">
                  <a:moveTo>
                    <a:pt x="0" y="0"/>
                  </a:moveTo>
                  <a:lnTo>
                    <a:pt x="24279" y="6469"/>
                  </a:lnTo>
                  <a:lnTo>
                    <a:pt x="24279" y="956213"/>
                  </a:lnTo>
                  <a:lnTo>
                    <a:pt x="0" y="96268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39" name="Freeform: Shape 38">
              <a:extLst>
                <a:ext uri="{FF2B5EF4-FFF2-40B4-BE49-F238E27FC236}">
                  <a16:creationId xmlns:a16="http://schemas.microsoft.com/office/drawing/2014/main" id="{D7FFFD2F-539E-4FC4-9EFF-D2A174F0ECE7}"/>
                </a:ext>
              </a:extLst>
            </p:cNvPr>
            <p:cNvSpPr/>
            <p:nvPr userDrawn="1"/>
          </p:nvSpPr>
          <p:spPr>
            <a:xfrm rot="10800000">
              <a:off x="11528286" y="3689012"/>
              <a:ext cx="8713" cy="1277655"/>
            </a:xfrm>
            <a:custGeom>
              <a:avLst/>
              <a:gdLst>
                <a:gd name="connsiteX0" fmla="*/ 0 w 24279"/>
                <a:gd name="connsiteY0" fmla="*/ 0 h 932290"/>
                <a:gd name="connsiteX1" fmla="*/ 24279 w 24279"/>
                <a:gd name="connsiteY1" fmla="*/ 6469 h 932290"/>
                <a:gd name="connsiteX2" fmla="*/ 24279 w 24279"/>
                <a:gd name="connsiteY2" fmla="*/ 925821 h 932290"/>
                <a:gd name="connsiteX3" fmla="*/ 0 w 24279"/>
                <a:gd name="connsiteY3" fmla="*/ 932290 h 932290"/>
                <a:gd name="connsiteX4" fmla="*/ 0 w 24279"/>
                <a:gd name="connsiteY4" fmla="*/ 0 h 93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32290">
                  <a:moveTo>
                    <a:pt x="0" y="0"/>
                  </a:moveTo>
                  <a:lnTo>
                    <a:pt x="24279" y="6469"/>
                  </a:lnTo>
                  <a:lnTo>
                    <a:pt x="24279" y="925821"/>
                  </a:lnTo>
                  <a:lnTo>
                    <a:pt x="0" y="9322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0" name="Freeform: Shape 39">
              <a:extLst>
                <a:ext uri="{FF2B5EF4-FFF2-40B4-BE49-F238E27FC236}">
                  <a16:creationId xmlns:a16="http://schemas.microsoft.com/office/drawing/2014/main" id="{004DCE4D-2C6C-42C9-AA04-1CB8B8A3E9B2}"/>
                </a:ext>
              </a:extLst>
            </p:cNvPr>
            <p:cNvSpPr/>
            <p:nvPr userDrawn="1"/>
          </p:nvSpPr>
          <p:spPr>
            <a:xfrm rot="10800000">
              <a:off x="11507817" y="3709837"/>
              <a:ext cx="8713" cy="1236004"/>
            </a:xfrm>
            <a:custGeom>
              <a:avLst/>
              <a:gdLst>
                <a:gd name="connsiteX0" fmla="*/ 0 w 24279"/>
                <a:gd name="connsiteY0" fmla="*/ 0 h 901898"/>
                <a:gd name="connsiteX1" fmla="*/ 24279 w 24279"/>
                <a:gd name="connsiteY1" fmla="*/ 6469 h 901898"/>
                <a:gd name="connsiteX2" fmla="*/ 24279 w 24279"/>
                <a:gd name="connsiteY2" fmla="*/ 895429 h 901898"/>
                <a:gd name="connsiteX3" fmla="*/ 0 w 24279"/>
                <a:gd name="connsiteY3" fmla="*/ 901898 h 901898"/>
                <a:gd name="connsiteX4" fmla="*/ 0 w 24279"/>
                <a:gd name="connsiteY4" fmla="*/ 0 h 90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901898">
                  <a:moveTo>
                    <a:pt x="0" y="0"/>
                  </a:moveTo>
                  <a:lnTo>
                    <a:pt x="24279" y="6469"/>
                  </a:lnTo>
                  <a:lnTo>
                    <a:pt x="24279" y="895429"/>
                  </a:lnTo>
                  <a:lnTo>
                    <a:pt x="0" y="9018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1" name="Freeform: Shape 40">
              <a:extLst>
                <a:ext uri="{FF2B5EF4-FFF2-40B4-BE49-F238E27FC236}">
                  <a16:creationId xmlns:a16="http://schemas.microsoft.com/office/drawing/2014/main" id="{BFED36D5-419E-451C-93C9-A38125507158}"/>
                </a:ext>
              </a:extLst>
            </p:cNvPr>
            <p:cNvSpPr/>
            <p:nvPr userDrawn="1"/>
          </p:nvSpPr>
          <p:spPr>
            <a:xfrm rot="10800000">
              <a:off x="11487348" y="3730663"/>
              <a:ext cx="8713" cy="1194353"/>
            </a:xfrm>
            <a:custGeom>
              <a:avLst/>
              <a:gdLst>
                <a:gd name="connsiteX0" fmla="*/ 0 w 24279"/>
                <a:gd name="connsiteY0" fmla="*/ 0 h 871506"/>
                <a:gd name="connsiteX1" fmla="*/ 24279 w 24279"/>
                <a:gd name="connsiteY1" fmla="*/ 6469 h 871506"/>
                <a:gd name="connsiteX2" fmla="*/ 24279 w 24279"/>
                <a:gd name="connsiteY2" fmla="*/ 865037 h 871506"/>
                <a:gd name="connsiteX3" fmla="*/ 0 w 24279"/>
                <a:gd name="connsiteY3" fmla="*/ 871506 h 871506"/>
                <a:gd name="connsiteX4" fmla="*/ 0 w 24279"/>
                <a:gd name="connsiteY4" fmla="*/ 0 h 871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71506">
                  <a:moveTo>
                    <a:pt x="0" y="0"/>
                  </a:moveTo>
                  <a:lnTo>
                    <a:pt x="24279" y="6469"/>
                  </a:lnTo>
                  <a:lnTo>
                    <a:pt x="24279" y="865037"/>
                  </a:lnTo>
                  <a:lnTo>
                    <a:pt x="0" y="8715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2" name="Freeform: Shape 41">
              <a:extLst>
                <a:ext uri="{FF2B5EF4-FFF2-40B4-BE49-F238E27FC236}">
                  <a16:creationId xmlns:a16="http://schemas.microsoft.com/office/drawing/2014/main" id="{A1A84F92-81EA-4A88-AAB1-2925DEC03FA7}"/>
                </a:ext>
              </a:extLst>
            </p:cNvPr>
            <p:cNvSpPr/>
            <p:nvPr userDrawn="1"/>
          </p:nvSpPr>
          <p:spPr>
            <a:xfrm rot="10800000">
              <a:off x="11466879" y="3751488"/>
              <a:ext cx="8713" cy="1152703"/>
            </a:xfrm>
            <a:custGeom>
              <a:avLst/>
              <a:gdLst>
                <a:gd name="connsiteX0" fmla="*/ 0 w 24279"/>
                <a:gd name="connsiteY0" fmla="*/ 0 h 841114"/>
                <a:gd name="connsiteX1" fmla="*/ 24279 w 24279"/>
                <a:gd name="connsiteY1" fmla="*/ 6469 h 841114"/>
                <a:gd name="connsiteX2" fmla="*/ 24279 w 24279"/>
                <a:gd name="connsiteY2" fmla="*/ 834645 h 841114"/>
                <a:gd name="connsiteX3" fmla="*/ 0 w 24279"/>
                <a:gd name="connsiteY3" fmla="*/ 841114 h 841114"/>
                <a:gd name="connsiteX4" fmla="*/ 0 w 24279"/>
                <a:gd name="connsiteY4" fmla="*/ 0 h 841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41114">
                  <a:moveTo>
                    <a:pt x="0" y="0"/>
                  </a:moveTo>
                  <a:lnTo>
                    <a:pt x="24279" y="6469"/>
                  </a:lnTo>
                  <a:lnTo>
                    <a:pt x="24279" y="834645"/>
                  </a:lnTo>
                  <a:lnTo>
                    <a:pt x="0" y="8411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3" name="Freeform: Shape 42">
              <a:extLst>
                <a:ext uri="{FF2B5EF4-FFF2-40B4-BE49-F238E27FC236}">
                  <a16:creationId xmlns:a16="http://schemas.microsoft.com/office/drawing/2014/main" id="{E2ADEEAD-E709-4725-AAAD-E2F9E4B05919}"/>
                </a:ext>
              </a:extLst>
            </p:cNvPr>
            <p:cNvSpPr/>
            <p:nvPr userDrawn="1"/>
          </p:nvSpPr>
          <p:spPr>
            <a:xfrm rot="10800000">
              <a:off x="11446411" y="3772313"/>
              <a:ext cx="8713" cy="1111052"/>
            </a:xfrm>
            <a:custGeom>
              <a:avLst/>
              <a:gdLst>
                <a:gd name="connsiteX0" fmla="*/ 0 w 24279"/>
                <a:gd name="connsiteY0" fmla="*/ 0 h 810722"/>
                <a:gd name="connsiteX1" fmla="*/ 24279 w 24279"/>
                <a:gd name="connsiteY1" fmla="*/ 6469 h 810722"/>
                <a:gd name="connsiteX2" fmla="*/ 24279 w 24279"/>
                <a:gd name="connsiteY2" fmla="*/ 804253 h 810722"/>
                <a:gd name="connsiteX3" fmla="*/ 0 w 24279"/>
                <a:gd name="connsiteY3" fmla="*/ 810722 h 810722"/>
                <a:gd name="connsiteX4" fmla="*/ 0 w 24279"/>
                <a:gd name="connsiteY4" fmla="*/ 0 h 81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0722">
                  <a:moveTo>
                    <a:pt x="0" y="0"/>
                  </a:moveTo>
                  <a:lnTo>
                    <a:pt x="24279" y="6469"/>
                  </a:lnTo>
                  <a:lnTo>
                    <a:pt x="24279" y="804253"/>
                  </a:lnTo>
                  <a:lnTo>
                    <a:pt x="0" y="81072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4" name="Freeform: Shape 43">
              <a:extLst>
                <a:ext uri="{FF2B5EF4-FFF2-40B4-BE49-F238E27FC236}">
                  <a16:creationId xmlns:a16="http://schemas.microsoft.com/office/drawing/2014/main" id="{59E62943-27A2-4687-8FF6-B89621CCCD5A}"/>
                </a:ext>
              </a:extLst>
            </p:cNvPr>
            <p:cNvSpPr/>
            <p:nvPr userDrawn="1"/>
          </p:nvSpPr>
          <p:spPr>
            <a:xfrm rot="10800000">
              <a:off x="11425942" y="3793139"/>
              <a:ext cx="8713" cy="1069401"/>
            </a:xfrm>
            <a:custGeom>
              <a:avLst/>
              <a:gdLst>
                <a:gd name="connsiteX0" fmla="*/ 0 w 24279"/>
                <a:gd name="connsiteY0" fmla="*/ 0 h 780330"/>
                <a:gd name="connsiteX1" fmla="*/ 24279 w 24279"/>
                <a:gd name="connsiteY1" fmla="*/ 6469 h 780330"/>
                <a:gd name="connsiteX2" fmla="*/ 24279 w 24279"/>
                <a:gd name="connsiteY2" fmla="*/ 773861 h 780330"/>
                <a:gd name="connsiteX3" fmla="*/ 0 w 24279"/>
                <a:gd name="connsiteY3" fmla="*/ 780330 h 780330"/>
                <a:gd name="connsiteX4" fmla="*/ 0 w 24279"/>
                <a:gd name="connsiteY4" fmla="*/ 0 h 78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80330">
                  <a:moveTo>
                    <a:pt x="0" y="0"/>
                  </a:moveTo>
                  <a:lnTo>
                    <a:pt x="24279" y="6469"/>
                  </a:lnTo>
                  <a:lnTo>
                    <a:pt x="24279" y="773861"/>
                  </a:lnTo>
                  <a:lnTo>
                    <a:pt x="0" y="7803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5" name="Freeform: Shape 44">
              <a:extLst>
                <a:ext uri="{FF2B5EF4-FFF2-40B4-BE49-F238E27FC236}">
                  <a16:creationId xmlns:a16="http://schemas.microsoft.com/office/drawing/2014/main" id="{0E4DBC6B-F572-4770-BF11-573E31C5AECF}"/>
                </a:ext>
              </a:extLst>
            </p:cNvPr>
            <p:cNvSpPr/>
            <p:nvPr userDrawn="1"/>
          </p:nvSpPr>
          <p:spPr>
            <a:xfrm rot="10800000">
              <a:off x="11405473" y="3813964"/>
              <a:ext cx="8713" cy="1027751"/>
            </a:xfrm>
            <a:custGeom>
              <a:avLst/>
              <a:gdLst>
                <a:gd name="connsiteX0" fmla="*/ 0 w 24279"/>
                <a:gd name="connsiteY0" fmla="*/ 0 h 749938"/>
                <a:gd name="connsiteX1" fmla="*/ 24279 w 24279"/>
                <a:gd name="connsiteY1" fmla="*/ 6469 h 749938"/>
                <a:gd name="connsiteX2" fmla="*/ 24279 w 24279"/>
                <a:gd name="connsiteY2" fmla="*/ 743469 h 749938"/>
                <a:gd name="connsiteX3" fmla="*/ 0 w 24279"/>
                <a:gd name="connsiteY3" fmla="*/ 749938 h 749938"/>
                <a:gd name="connsiteX4" fmla="*/ 0 w 24279"/>
                <a:gd name="connsiteY4" fmla="*/ 0 h 74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49938">
                  <a:moveTo>
                    <a:pt x="0" y="0"/>
                  </a:moveTo>
                  <a:lnTo>
                    <a:pt x="24279" y="6469"/>
                  </a:lnTo>
                  <a:lnTo>
                    <a:pt x="24279" y="743469"/>
                  </a:lnTo>
                  <a:lnTo>
                    <a:pt x="0" y="74993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6" name="Freeform: Shape 45">
              <a:extLst>
                <a:ext uri="{FF2B5EF4-FFF2-40B4-BE49-F238E27FC236}">
                  <a16:creationId xmlns:a16="http://schemas.microsoft.com/office/drawing/2014/main" id="{2899241F-024D-4473-810B-87296D76C57F}"/>
                </a:ext>
              </a:extLst>
            </p:cNvPr>
            <p:cNvSpPr/>
            <p:nvPr userDrawn="1"/>
          </p:nvSpPr>
          <p:spPr>
            <a:xfrm rot="10800000">
              <a:off x="11385004" y="3834791"/>
              <a:ext cx="8713" cy="986097"/>
            </a:xfrm>
            <a:custGeom>
              <a:avLst/>
              <a:gdLst>
                <a:gd name="connsiteX0" fmla="*/ 0 w 24279"/>
                <a:gd name="connsiteY0" fmla="*/ 0 h 719544"/>
                <a:gd name="connsiteX1" fmla="*/ 24279 w 24279"/>
                <a:gd name="connsiteY1" fmla="*/ 6468 h 719544"/>
                <a:gd name="connsiteX2" fmla="*/ 24279 w 24279"/>
                <a:gd name="connsiteY2" fmla="*/ 713076 h 719544"/>
                <a:gd name="connsiteX3" fmla="*/ 0 w 24279"/>
                <a:gd name="connsiteY3" fmla="*/ 719544 h 719544"/>
                <a:gd name="connsiteX4" fmla="*/ 0 w 24279"/>
                <a:gd name="connsiteY4" fmla="*/ 0 h 71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719544">
                  <a:moveTo>
                    <a:pt x="0" y="0"/>
                  </a:moveTo>
                  <a:lnTo>
                    <a:pt x="24279" y="6468"/>
                  </a:lnTo>
                  <a:lnTo>
                    <a:pt x="24279" y="713076"/>
                  </a:lnTo>
                  <a:lnTo>
                    <a:pt x="0" y="71954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7" name="Freeform: Shape 46">
              <a:extLst>
                <a:ext uri="{FF2B5EF4-FFF2-40B4-BE49-F238E27FC236}">
                  <a16:creationId xmlns:a16="http://schemas.microsoft.com/office/drawing/2014/main" id="{ECFC57D5-CF52-4866-AE66-47AC4632DC4D}"/>
                </a:ext>
              </a:extLst>
            </p:cNvPr>
            <p:cNvSpPr/>
            <p:nvPr userDrawn="1"/>
          </p:nvSpPr>
          <p:spPr>
            <a:xfrm rot="10800000">
              <a:off x="11364536" y="3855616"/>
              <a:ext cx="8713" cy="944447"/>
            </a:xfrm>
            <a:custGeom>
              <a:avLst/>
              <a:gdLst>
                <a:gd name="connsiteX0" fmla="*/ 0 w 24279"/>
                <a:gd name="connsiteY0" fmla="*/ 0 h 689152"/>
                <a:gd name="connsiteX1" fmla="*/ 24279 w 24279"/>
                <a:gd name="connsiteY1" fmla="*/ 6468 h 689152"/>
                <a:gd name="connsiteX2" fmla="*/ 24279 w 24279"/>
                <a:gd name="connsiteY2" fmla="*/ 682684 h 689152"/>
                <a:gd name="connsiteX3" fmla="*/ 0 w 24279"/>
                <a:gd name="connsiteY3" fmla="*/ 689152 h 689152"/>
                <a:gd name="connsiteX4" fmla="*/ 0 w 24279"/>
                <a:gd name="connsiteY4" fmla="*/ 0 h 689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89152">
                  <a:moveTo>
                    <a:pt x="0" y="0"/>
                  </a:moveTo>
                  <a:lnTo>
                    <a:pt x="24279" y="6468"/>
                  </a:lnTo>
                  <a:lnTo>
                    <a:pt x="24279" y="682684"/>
                  </a:lnTo>
                  <a:lnTo>
                    <a:pt x="0" y="68915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8" name="Freeform: Shape 47">
              <a:extLst>
                <a:ext uri="{FF2B5EF4-FFF2-40B4-BE49-F238E27FC236}">
                  <a16:creationId xmlns:a16="http://schemas.microsoft.com/office/drawing/2014/main" id="{C5C2D3BE-80AB-48A2-8940-0D7503662BEF}"/>
                </a:ext>
              </a:extLst>
            </p:cNvPr>
            <p:cNvSpPr/>
            <p:nvPr userDrawn="1"/>
          </p:nvSpPr>
          <p:spPr>
            <a:xfrm rot="10800000">
              <a:off x="11344067" y="3876441"/>
              <a:ext cx="8713" cy="902796"/>
            </a:xfrm>
            <a:custGeom>
              <a:avLst/>
              <a:gdLst>
                <a:gd name="connsiteX0" fmla="*/ 0 w 24279"/>
                <a:gd name="connsiteY0" fmla="*/ 0 h 658760"/>
                <a:gd name="connsiteX1" fmla="*/ 24279 w 24279"/>
                <a:gd name="connsiteY1" fmla="*/ 6469 h 658760"/>
                <a:gd name="connsiteX2" fmla="*/ 24279 w 24279"/>
                <a:gd name="connsiteY2" fmla="*/ 652292 h 658760"/>
                <a:gd name="connsiteX3" fmla="*/ 0 w 24279"/>
                <a:gd name="connsiteY3" fmla="*/ 658760 h 658760"/>
                <a:gd name="connsiteX4" fmla="*/ 0 w 24279"/>
                <a:gd name="connsiteY4" fmla="*/ 0 h 65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58760">
                  <a:moveTo>
                    <a:pt x="0" y="0"/>
                  </a:moveTo>
                  <a:lnTo>
                    <a:pt x="24279" y="6469"/>
                  </a:lnTo>
                  <a:lnTo>
                    <a:pt x="24279" y="652292"/>
                  </a:lnTo>
                  <a:lnTo>
                    <a:pt x="0" y="65876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49" name="Freeform: Shape 48">
              <a:extLst>
                <a:ext uri="{FF2B5EF4-FFF2-40B4-BE49-F238E27FC236}">
                  <a16:creationId xmlns:a16="http://schemas.microsoft.com/office/drawing/2014/main" id="{87A340CB-E990-44BE-AD4A-825A4616AAE3}"/>
                </a:ext>
              </a:extLst>
            </p:cNvPr>
            <p:cNvSpPr/>
            <p:nvPr userDrawn="1"/>
          </p:nvSpPr>
          <p:spPr>
            <a:xfrm rot="10800000">
              <a:off x="11323598" y="3897267"/>
              <a:ext cx="8713" cy="861145"/>
            </a:xfrm>
            <a:custGeom>
              <a:avLst/>
              <a:gdLst>
                <a:gd name="connsiteX0" fmla="*/ 0 w 24279"/>
                <a:gd name="connsiteY0" fmla="*/ 0 h 628368"/>
                <a:gd name="connsiteX1" fmla="*/ 24279 w 24279"/>
                <a:gd name="connsiteY1" fmla="*/ 6469 h 628368"/>
                <a:gd name="connsiteX2" fmla="*/ 24279 w 24279"/>
                <a:gd name="connsiteY2" fmla="*/ 621899 h 628368"/>
                <a:gd name="connsiteX3" fmla="*/ 0 w 24279"/>
                <a:gd name="connsiteY3" fmla="*/ 628368 h 628368"/>
                <a:gd name="connsiteX4" fmla="*/ 0 w 24279"/>
                <a:gd name="connsiteY4" fmla="*/ 0 h 62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628368">
                  <a:moveTo>
                    <a:pt x="0" y="0"/>
                  </a:moveTo>
                  <a:lnTo>
                    <a:pt x="24279" y="6469"/>
                  </a:lnTo>
                  <a:lnTo>
                    <a:pt x="24279" y="621899"/>
                  </a:lnTo>
                  <a:lnTo>
                    <a:pt x="0" y="62836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0" name="Freeform: Shape 49">
              <a:extLst>
                <a:ext uri="{FF2B5EF4-FFF2-40B4-BE49-F238E27FC236}">
                  <a16:creationId xmlns:a16="http://schemas.microsoft.com/office/drawing/2014/main" id="{694FDF1B-7473-4737-83F6-E3A8D9235CA2}"/>
                </a:ext>
              </a:extLst>
            </p:cNvPr>
            <p:cNvSpPr/>
            <p:nvPr userDrawn="1"/>
          </p:nvSpPr>
          <p:spPr>
            <a:xfrm rot="10800000">
              <a:off x="11303129" y="3918092"/>
              <a:ext cx="8713" cy="819495"/>
            </a:xfrm>
            <a:custGeom>
              <a:avLst/>
              <a:gdLst>
                <a:gd name="connsiteX0" fmla="*/ 0 w 24279"/>
                <a:gd name="connsiteY0" fmla="*/ 0 h 597976"/>
                <a:gd name="connsiteX1" fmla="*/ 24279 w 24279"/>
                <a:gd name="connsiteY1" fmla="*/ 6469 h 597976"/>
                <a:gd name="connsiteX2" fmla="*/ 24279 w 24279"/>
                <a:gd name="connsiteY2" fmla="*/ 591507 h 597976"/>
                <a:gd name="connsiteX3" fmla="*/ 0 w 24279"/>
                <a:gd name="connsiteY3" fmla="*/ 597976 h 597976"/>
                <a:gd name="connsiteX4" fmla="*/ 0 w 24279"/>
                <a:gd name="connsiteY4" fmla="*/ 0 h 597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97976">
                  <a:moveTo>
                    <a:pt x="0" y="0"/>
                  </a:moveTo>
                  <a:lnTo>
                    <a:pt x="24279" y="6469"/>
                  </a:lnTo>
                  <a:lnTo>
                    <a:pt x="24279" y="591507"/>
                  </a:lnTo>
                  <a:lnTo>
                    <a:pt x="0" y="5979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1" name="Freeform: Shape 50">
              <a:extLst>
                <a:ext uri="{FF2B5EF4-FFF2-40B4-BE49-F238E27FC236}">
                  <a16:creationId xmlns:a16="http://schemas.microsoft.com/office/drawing/2014/main" id="{FE78B346-97CF-422C-BE87-3314E91207C8}"/>
                </a:ext>
              </a:extLst>
            </p:cNvPr>
            <p:cNvSpPr/>
            <p:nvPr userDrawn="1"/>
          </p:nvSpPr>
          <p:spPr>
            <a:xfrm rot="10800000">
              <a:off x="11282661" y="3938917"/>
              <a:ext cx="8713" cy="777844"/>
            </a:xfrm>
            <a:custGeom>
              <a:avLst/>
              <a:gdLst>
                <a:gd name="connsiteX0" fmla="*/ 0 w 24279"/>
                <a:gd name="connsiteY0" fmla="*/ 0 h 567584"/>
                <a:gd name="connsiteX1" fmla="*/ 24279 w 24279"/>
                <a:gd name="connsiteY1" fmla="*/ 6469 h 567584"/>
                <a:gd name="connsiteX2" fmla="*/ 24279 w 24279"/>
                <a:gd name="connsiteY2" fmla="*/ 561115 h 567584"/>
                <a:gd name="connsiteX3" fmla="*/ 0 w 24279"/>
                <a:gd name="connsiteY3" fmla="*/ 567584 h 567584"/>
                <a:gd name="connsiteX4" fmla="*/ 0 w 24279"/>
                <a:gd name="connsiteY4" fmla="*/ 0 h 56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67584">
                  <a:moveTo>
                    <a:pt x="0" y="0"/>
                  </a:moveTo>
                  <a:lnTo>
                    <a:pt x="24279" y="6469"/>
                  </a:lnTo>
                  <a:lnTo>
                    <a:pt x="24279" y="561115"/>
                  </a:lnTo>
                  <a:lnTo>
                    <a:pt x="0" y="56758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2" name="Freeform: Shape 51">
              <a:extLst>
                <a:ext uri="{FF2B5EF4-FFF2-40B4-BE49-F238E27FC236}">
                  <a16:creationId xmlns:a16="http://schemas.microsoft.com/office/drawing/2014/main" id="{58903EC3-58CA-4EE0-910B-6F1A8CB20788}"/>
                </a:ext>
              </a:extLst>
            </p:cNvPr>
            <p:cNvSpPr/>
            <p:nvPr userDrawn="1"/>
          </p:nvSpPr>
          <p:spPr>
            <a:xfrm rot="10800000">
              <a:off x="11262192" y="3959743"/>
              <a:ext cx="8713" cy="736193"/>
            </a:xfrm>
            <a:custGeom>
              <a:avLst/>
              <a:gdLst>
                <a:gd name="connsiteX0" fmla="*/ 0 w 24279"/>
                <a:gd name="connsiteY0" fmla="*/ 0 h 537192"/>
                <a:gd name="connsiteX1" fmla="*/ 24279 w 24279"/>
                <a:gd name="connsiteY1" fmla="*/ 6469 h 537192"/>
                <a:gd name="connsiteX2" fmla="*/ 24279 w 24279"/>
                <a:gd name="connsiteY2" fmla="*/ 530723 h 537192"/>
                <a:gd name="connsiteX3" fmla="*/ 0 w 24279"/>
                <a:gd name="connsiteY3" fmla="*/ 537192 h 537192"/>
                <a:gd name="connsiteX4" fmla="*/ 0 w 24279"/>
                <a:gd name="connsiteY4" fmla="*/ 0 h 537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37192">
                  <a:moveTo>
                    <a:pt x="0" y="0"/>
                  </a:moveTo>
                  <a:lnTo>
                    <a:pt x="24279" y="6469"/>
                  </a:lnTo>
                  <a:lnTo>
                    <a:pt x="24279" y="530723"/>
                  </a:lnTo>
                  <a:lnTo>
                    <a:pt x="0" y="53719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3" name="Freeform: Shape 52">
              <a:extLst>
                <a:ext uri="{FF2B5EF4-FFF2-40B4-BE49-F238E27FC236}">
                  <a16:creationId xmlns:a16="http://schemas.microsoft.com/office/drawing/2014/main" id="{580C81ED-EE5B-4F87-A11A-753CE5245F85}"/>
                </a:ext>
              </a:extLst>
            </p:cNvPr>
            <p:cNvSpPr/>
            <p:nvPr userDrawn="1"/>
          </p:nvSpPr>
          <p:spPr>
            <a:xfrm rot="10800000">
              <a:off x="11241723" y="3980568"/>
              <a:ext cx="8713" cy="694543"/>
            </a:xfrm>
            <a:custGeom>
              <a:avLst/>
              <a:gdLst>
                <a:gd name="connsiteX0" fmla="*/ 0 w 24279"/>
                <a:gd name="connsiteY0" fmla="*/ 0 h 506800"/>
                <a:gd name="connsiteX1" fmla="*/ 24279 w 24279"/>
                <a:gd name="connsiteY1" fmla="*/ 6469 h 506800"/>
                <a:gd name="connsiteX2" fmla="*/ 24279 w 24279"/>
                <a:gd name="connsiteY2" fmla="*/ 500331 h 506800"/>
                <a:gd name="connsiteX3" fmla="*/ 0 w 24279"/>
                <a:gd name="connsiteY3" fmla="*/ 506800 h 506800"/>
                <a:gd name="connsiteX4" fmla="*/ 0 w 24279"/>
                <a:gd name="connsiteY4" fmla="*/ 0 h 50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6800">
                  <a:moveTo>
                    <a:pt x="0" y="0"/>
                  </a:moveTo>
                  <a:lnTo>
                    <a:pt x="24279" y="6469"/>
                  </a:lnTo>
                  <a:lnTo>
                    <a:pt x="24279" y="500331"/>
                  </a:lnTo>
                  <a:lnTo>
                    <a:pt x="0" y="506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4" name="Freeform: Shape 53">
              <a:extLst>
                <a:ext uri="{FF2B5EF4-FFF2-40B4-BE49-F238E27FC236}">
                  <a16:creationId xmlns:a16="http://schemas.microsoft.com/office/drawing/2014/main" id="{9BED7BCF-98B3-4622-AE34-B2AA120E8FA7}"/>
                </a:ext>
              </a:extLst>
            </p:cNvPr>
            <p:cNvSpPr/>
            <p:nvPr userDrawn="1"/>
          </p:nvSpPr>
          <p:spPr>
            <a:xfrm rot="10800000">
              <a:off x="11221254" y="4001393"/>
              <a:ext cx="8713" cy="652892"/>
            </a:xfrm>
            <a:custGeom>
              <a:avLst/>
              <a:gdLst>
                <a:gd name="connsiteX0" fmla="*/ 0 w 24279"/>
                <a:gd name="connsiteY0" fmla="*/ 0 h 476408"/>
                <a:gd name="connsiteX1" fmla="*/ 24279 w 24279"/>
                <a:gd name="connsiteY1" fmla="*/ 6469 h 476408"/>
                <a:gd name="connsiteX2" fmla="*/ 24279 w 24279"/>
                <a:gd name="connsiteY2" fmla="*/ 469939 h 476408"/>
                <a:gd name="connsiteX3" fmla="*/ 0 w 24279"/>
                <a:gd name="connsiteY3" fmla="*/ 476408 h 476408"/>
                <a:gd name="connsiteX4" fmla="*/ 0 w 24279"/>
                <a:gd name="connsiteY4" fmla="*/ 0 h 47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76408">
                  <a:moveTo>
                    <a:pt x="0" y="0"/>
                  </a:moveTo>
                  <a:lnTo>
                    <a:pt x="24279" y="6469"/>
                  </a:lnTo>
                  <a:lnTo>
                    <a:pt x="24279" y="469939"/>
                  </a:lnTo>
                  <a:lnTo>
                    <a:pt x="0" y="47640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5" name="Freeform: Shape 54">
              <a:extLst>
                <a:ext uri="{FF2B5EF4-FFF2-40B4-BE49-F238E27FC236}">
                  <a16:creationId xmlns:a16="http://schemas.microsoft.com/office/drawing/2014/main" id="{9F8CDBCE-FCFC-4451-97A5-A6E9C55682AB}"/>
                </a:ext>
              </a:extLst>
            </p:cNvPr>
            <p:cNvSpPr/>
            <p:nvPr userDrawn="1"/>
          </p:nvSpPr>
          <p:spPr>
            <a:xfrm rot="10800000">
              <a:off x="11200786" y="4022219"/>
              <a:ext cx="8713" cy="611242"/>
            </a:xfrm>
            <a:custGeom>
              <a:avLst/>
              <a:gdLst>
                <a:gd name="connsiteX0" fmla="*/ 0 w 24279"/>
                <a:gd name="connsiteY0" fmla="*/ 0 h 446016"/>
                <a:gd name="connsiteX1" fmla="*/ 24279 w 24279"/>
                <a:gd name="connsiteY1" fmla="*/ 6469 h 446016"/>
                <a:gd name="connsiteX2" fmla="*/ 24279 w 24279"/>
                <a:gd name="connsiteY2" fmla="*/ 439547 h 446016"/>
                <a:gd name="connsiteX3" fmla="*/ 0 w 24279"/>
                <a:gd name="connsiteY3" fmla="*/ 446016 h 446016"/>
                <a:gd name="connsiteX4" fmla="*/ 0 w 24279"/>
                <a:gd name="connsiteY4" fmla="*/ 0 h 446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46016">
                  <a:moveTo>
                    <a:pt x="0" y="0"/>
                  </a:moveTo>
                  <a:lnTo>
                    <a:pt x="24279" y="6469"/>
                  </a:lnTo>
                  <a:lnTo>
                    <a:pt x="24279" y="439547"/>
                  </a:lnTo>
                  <a:lnTo>
                    <a:pt x="0" y="4460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6" name="Freeform: Shape 55">
              <a:extLst>
                <a:ext uri="{FF2B5EF4-FFF2-40B4-BE49-F238E27FC236}">
                  <a16:creationId xmlns:a16="http://schemas.microsoft.com/office/drawing/2014/main" id="{E2DF2785-D4D1-45B7-B0DB-1C0AF4BC106F}"/>
                </a:ext>
              </a:extLst>
            </p:cNvPr>
            <p:cNvSpPr/>
            <p:nvPr userDrawn="1"/>
          </p:nvSpPr>
          <p:spPr>
            <a:xfrm rot="10800000">
              <a:off x="11180317" y="4043044"/>
              <a:ext cx="8713" cy="569591"/>
            </a:xfrm>
            <a:custGeom>
              <a:avLst/>
              <a:gdLst>
                <a:gd name="connsiteX0" fmla="*/ 0 w 24279"/>
                <a:gd name="connsiteY0" fmla="*/ 0 h 415624"/>
                <a:gd name="connsiteX1" fmla="*/ 24279 w 24279"/>
                <a:gd name="connsiteY1" fmla="*/ 6469 h 415624"/>
                <a:gd name="connsiteX2" fmla="*/ 24279 w 24279"/>
                <a:gd name="connsiteY2" fmla="*/ 409155 h 415624"/>
                <a:gd name="connsiteX3" fmla="*/ 0 w 24279"/>
                <a:gd name="connsiteY3" fmla="*/ 415624 h 415624"/>
                <a:gd name="connsiteX4" fmla="*/ 0 w 24279"/>
                <a:gd name="connsiteY4" fmla="*/ 0 h 41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415624">
                  <a:moveTo>
                    <a:pt x="0" y="0"/>
                  </a:moveTo>
                  <a:lnTo>
                    <a:pt x="24279" y="6469"/>
                  </a:lnTo>
                  <a:lnTo>
                    <a:pt x="24279" y="409155"/>
                  </a:lnTo>
                  <a:lnTo>
                    <a:pt x="0" y="41562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7" name="Freeform: Shape 56">
              <a:extLst>
                <a:ext uri="{FF2B5EF4-FFF2-40B4-BE49-F238E27FC236}">
                  <a16:creationId xmlns:a16="http://schemas.microsoft.com/office/drawing/2014/main" id="{CB70A436-DCB4-4ED9-99EE-1B6CD191D71F}"/>
                </a:ext>
              </a:extLst>
            </p:cNvPr>
            <p:cNvSpPr/>
            <p:nvPr userDrawn="1"/>
          </p:nvSpPr>
          <p:spPr>
            <a:xfrm rot="10800000">
              <a:off x="11159848" y="4063869"/>
              <a:ext cx="8713" cy="527939"/>
            </a:xfrm>
            <a:custGeom>
              <a:avLst/>
              <a:gdLst>
                <a:gd name="connsiteX0" fmla="*/ 0 w 24279"/>
                <a:gd name="connsiteY0" fmla="*/ 0 h 385231"/>
                <a:gd name="connsiteX1" fmla="*/ 24279 w 24279"/>
                <a:gd name="connsiteY1" fmla="*/ 6468 h 385231"/>
                <a:gd name="connsiteX2" fmla="*/ 24279 w 24279"/>
                <a:gd name="connsiteY2" fmla="*/ 378762 h 385231"/>
                <a:gd name="connsiteX3" fmla="*/ 0 w 24279"/>
                <a:gd name="connsiteY3" fmla="*/ 385231 h 385231"/>
                <a:gd name="connsiteX4" fmla="*/ 0 w 24279"/>
                <a:gd name="connsiteY4" fmla="*/ 0 h 38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85231">
                  <a:moveTo>
                    <a:pt x="0" y="0"/>
                  </a:moveTo>
                  <a:lnTo>
                    <a:pt x="24279" y="6468"/>
                  </a:lnTo>
                  <a:lnTo>
                    <a:pt x="24279" y="378762"/>
                  </a:lnTo>
                  <a:lnTo>
                    <a:pt x="0" y="38523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8" name="Freeform: Shape 57">
              <a:extLst>
                <a:ext uri="{FF2B5EF4-FFF2-40B4-BE49-F238E27FC236}">
                  <a16:creationId xmlns:a16="http://schemas.microsoft.com/office/drawing/2014/main" id="{71619D30-DC1F-4D72-ADBE-1B825EA649F1}"/>
                </a:ext>
              </a:extLst>
            </p:cNvPr>
            <p:cNvSpPr/>
            <p:nvPr userDrawn="1"/>
          </p:nvSpPr>
          <p:spPr>
            <a:xfrm rot="10800000">
              <a:off x="11139379" y="4084695"/>
              <a:ext cx="8713" cy="486288"/>
            </a:xfrm>
            <a:custGeom>
              <a:avLst/>
              <a:gdLst>
                <a:gd name="connsiteX0" fmla="*/ 0 w 24279"/>
                <a:gd name="connsiteY0" fmla="*/ 0 h 354839"/>
                <a:gd name="connsiteX1" fmla="*/ 24279 w 24279"/>
                <a:gd name="connsiteY1" fmla="*/ 6468 h 354839"/>
                <a:gd name="connsiteX2" fmla="*/ 24279 w 24279"/>
                <a:gd name="connsiteY2" fmla="*/ 348370 h 354839"/>
                <a:gd name="connsiteX3" fmla="*/ 0 w 24279"/>
                <a:gd name="connsiteY3" fmla="*/ 354839 h 354839"/>
                <a:gd name="connsiteX4" fmla="*/ 0 w 24279"/>
                <a:gd name="connsiteY4" fmla="*/ 0 h 35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54839">
                  <a:moveTo>
                    <a:pt x="0" y="0"/>
                  </a:moveTo>
                  <a:lnTo>
                    <a:pt x="24279" y="6468"/>
                  </a:lnTo>
                  <a:lnTo>
                    <a:pt x="24279" y="348370"/>
                  </a:lnTo>
                  <a:lnTo>
                    <a:pt x="0" y="35483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59" name="Freeform: Shape 58">
              <a:extLst>
                <a:ext uri="{FF2B5EF4-FFF2-40B4-BE49-F238E27FC236}">
                  <a16:creationId xmlns:a16="http://schemas.microsoft.com/office/drawing/2014/main" id="{D0116973-7572-4A44-A3D2-B84DC9C2C6EE}"/>
                </a:ext>
              </a:extLst>
            </p:cNvPr>
            <p:cNvSpPr/>
            <p:nvPr userDrawn="1"/>
          </p:nvSpPr>
          <p:spPr>
            <a:xfrm rot="10800000">
              <a:off x="11118911" y="4105521"/>
              <a:ext cx="8713" cy="444636"/>
            </a:xfrm>
            <a:custGeom>
              <a:avLst/>
              <a:gdLst>
                <a:gd name="connsiteX0" fmla="*/ 0 w 24279"/>
                <a:gd name="connsiteY0" fmla="*/ 0 h 324446"/>
                <a:gd name="connsiteX1" fmla="*/ 24279 w 24279"/>
                <a:gd name="connsiteY1" fmla="*/ 6468 h 324446"/>
                <a:gd name="connsiteX2" fmla="*/ 24279 w 24279"/>
                <a:gd name="connsiteY2" fmla="*/ 317978 h 324446"/>
                <a:gd name="connsiteX3" fmla="*/ 0 w 24279"/>
                <a:gd name="connsiteY3" fmla="*/ 324446 h 324446"/>
                <a:gd name="connsiteX4" fmla="*/ 0 w 24279"/>
                <a:gd name="connsiteY4" fmla="*/ 0 h 324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324446">
                  <a:moveTo>
                    <a:pt x="0" y="0"/>
                  </a:moveTo>
                  <a:lnTo>
                    <a:pt x="24279" y="6468"/>
                  </a:lnTo>
                  <a:lnTo>
                    <a:pt x="24279" y="317978"/>
                  </a:lnTo>
                  <a:lnTo>
                    <a:pt x="0" y="32444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0" name="Freeform: Shape 59">
              <a:extLst>
                <a:ext uri="{FF2B5EF4-FFF2-40B4-BE49-F238E27FC236}">
                  <a16:creationId xmlns:a16="http://schemas.microsoft.com/office/drawing/2014/main" id="{7DE16C61-1FA6-40B8-A197-7237423E52BC}"/>
                </a:ext>
              </a:extLst>
            </p:cNvPr>
            <p:cNvSpPr/>
            <p:nvPr userDrawn="1"/>
          </p:nvSpPr>
          <p:spPr>
            <a:xfrm rot="10800000">
              <a:off x="11098442" y="4126347"/>
              <a:ext cx="8713" cy="402986"/>
            </a:xfrm>
            <a:custGeom>
              <a:avLst/>
              <a:gdLst>
                <a:gd name="connsiteX0" fmla="*/ 0 w 24279"/>
                <a:gd name="connsiteY0" fmla="*/ 0 h 294054"/>
                <a:gd name="connsiteX1" fmla="*/ 24279 w 24279"/>
                <a:gd name="connsiteY1" fmla="*/ 6469 h 294054"/>
                <a:gd name="connsiteX2" fmla="*/ 24279 w 24279"/>
                <a:gd name="connsiteY2" fmla="*/ 287586 h 294054"/>
                <a:gd name="connsiteX3" fmla="*/ 0 w 24279"/>
                <a:gd name="connsiteY3" fmla="*/ 294054 h 294054"/>
                <a:gd name="connsiteX4" fmla="*/ 0 w 24279"/>
                <a:gd name="connsiteY4" fmla="*/ 0 h 294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94054">
                  <a:moveTo>
                    <a:pt x="0" y="0"/>
                  </a:moveTo>
                  <a:lnTo>
                    <a:pt x="24279" y="6469"/>
                  </a:lnTo>
                  <a:lnTo>
                    <a:pt x="24279" y="287586"/>
                  </a:lnTo>
                  <a:lnTo>
                    <a:pt x="0" y="2940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1" name="Freeform: Shape 60">
              <a:extLst>
                <a:ext uri="{FF2B5EF4-FFF2-40B4-BE49-F238E27FC236}">
                  <a16:creationId xmlns:a16="http://schemas.microsoft.com/office/drawing/2014/main" id="{37A4359A-5E3D-4E45-A1BA-2EC6524A6DE7}"/>
                </a:ext>
              </a:extLst>
            </p:cNvPr>
            <p:cNvSpPr/>
            <p:nvPr userDrawn="1"/>
          </p:nvSpPr>
          <p:spPr>
            <a:xfrm rot="10800000">
              <a:off x="11077973" y="4147172"/>
              <a:ext cx="8713" cy="361335"/>
            </a:xfrm>
            <a:custGeom>
              <a:avLst/>
              <a:gdLst>
                <a:gd name="connsiteX0" fmla="*/ 0 w 24279"/>
                <a:gd name="connsiteY0" fmla="*/ 0 h 263662"/>
                <a:gd name="connsiteX1" fmla="*/ 24279 w 24279"/>
                <a:gd name="connsiteY1" fmla="*/ 6469 h 263662"/>
                <a:gd name="connsiteX2" fmla="*/ 24279 w 24279"/>
                <a:gd name="connsiteY2" fmla="*/ 257194 h 263662"/>
                <a:gd name="connsiteX3" fmla="*/ 0 w 24279"/>
                <a:gd name="connsiteY3" fmla="*/ 263662 h 263662"/>
                <a:gd name="connsiteX4" fmla="*/ 0 w 24279"/>
                <a:gd name="connsiteY4" fmla="*/ 0 h 26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63662">
                  <a:moveTo>
                    <a:pt x="0" y="0"/>
                  </a:moveTo>
                  <a:lnTo>
                    <a:pt x="24279" y="6469"/>
                  </a:lnTo>
                  <a:lnTo>
                    <a:pt x="24279" y="257194"/>
                  </a:lnTo>
                  <a:lnTo>
                    <a:pt x="0" y="26366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2" name="Freeform: Shape 61">
              <a:extLst>
                <a:ext uri="{FF2B5EF4-FFF2-40B4-BE49-F238E27FC236}">
                  <a16:creationId xmlns:a16="http://schemas.microsoft.com/office/drawing/2014/main" id="{B631279B-0732-4FC4-9CAA-5D85EC498414}"/>
                </a:ext>
              </a:extLst>
            </p:cNvPr>
            <p:cNvSpPr/>
            <p:nvPr userDrawn="1"/>
          </p:nvSpPr>
          <p:spPr>
            <a:xfrm rot="10800000">
              <a:off x="11057504" y="4167997"/>
              <a:ext cx="8713" cy="319684"/>
            </a:xfrm>
            <a:custGeom>
              <a:avLst/>
              <a:gdLst>
                <a:gd name="connsiteX0" fmla="*/ 0 w 24279"/>
                <a:gd name="connsiteY0" fmla="*/ 0 h 233270"/>
                <a:gd name="connsiteX1" fmla="*/ 24279 w 24279"/>
                <a:gd name="connsiteY1" fmla="*/ 6469 h 233270"/>
                <a:gd name="connsiteX2" fmla="*/ 24279 w 24279"/>
                <a:gd name="connsiteY2" fmla="*/ 226802 h 233270"/>
                <a:gd name="connsiteX3" fmla="*/ 0 w 24279"/>
                <a:gd name="connsiteY3" fmla="*/ 233270 h 233270"/>
                <a:gd name="connsiteX4" fmla="*/ 0 w 24279"/>
                <a:gd name="connsiteY4" fmla="*/ 0 h 233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33270">
                  <a:moveTo>
                    <a:pt x="0" y="0"/>
                  </a:moveTo>
                  <a:lnTo>
                    <a:pt x="24279" y="6469"/>
                  </a:lnTo>
                  <a:lnTo>
                    <a:pt x="24279" y="226802"/>
                  </a:lnTo>
                  <a:lnTo>
                    <a:pt x="0" y="2332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3" name="Freeform: Shape 62">
              <a:extLst>
                <a:ext uri="{FF2B5EF4-FFF2-40B4-BE49-F238E27FC236}">
                  <a16:creationId xmlns:a16="http://schemas.microsoft.com/office/drawing/2014/main" id="{A4ABB93F-7244-4E34-B9EB-31A900558653}"/>
                </a:ext>
              </a:extLst>
            </p:cNvPr>
            <p:cNvSpPr/>
            <p:nvPr userDrawn="1"/>
          </p:nvSpPr>
          <p:spPr>
            <a:xfrm rot="10800000">
              <a:off x="11037036" y="4188822"/>
              <a:ext cx="8713" cy="278034"/>
            </a:xfrm>
            <a:custGeom>
              <a:avLst/>
              <a:gdLst>
                <a:gd name="connsiteX0" fmla="*/ 0 w 24279"/>
                <a:gd name="connsiteY0" fmla="*/ 0 h 202878"/>
                <a:gd name="connsiteX1" fmla="*/ 24279 w 24279"/>
                <a:gd name="connsiteY1" fmla="*/ 6469 h 202878"/>
                <a:gd name="connsiteX2" fmla="*/ 24279 w 24279"/>
                <a:gd name="connsiteY2" fmla="*/ 196409 h 202878"/>
                <a:gd name="connsiteX3" fmla="*/ 0 w 24279"/>
                <a:gd name="connsiteY3" fmla="*/ 202878 h 202878"/>
                <a:gd name="connsiteX4" fmla="*/ 0 w 24279"/>
                <a:gd name="connsiteY4" fmla="*/ 0 h 20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202878">
                  <a:moveTo>
                    <a:pt x="0" y="0"/>
                  </a:moveTo>
                  <a:lnTo>
                    <a:pt x="24279" y="6469"/>
                  </a:lnTo>
                  <a:lnTo>
                    <a:pt x="24279" y="196409"/>
                  </a:lnTo>
                  <a:lnTo>
                    <a:pt x="0" y="20287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4" name="Freeform: Shape 63">
              <a:extLst>
                <a:ext uri="{FF2B5EF4-FFF2-40B4-BE49-F238E27FC236}">
                  <a16:creationId xmlns:a16="http://schemas.microsoft.com/office/drawing/2014/main" id="{645DB35F-C5B1-48DD-9752-520983BD63BE}"/>
                </a:ext>
              </a:extLst>
            </p:cNvPr>
            <p:cNvSpPr/>
            <p:nvPr userDrawn="1"/>
          </p:nvSpPr>
          <p:spPr>
            <a:xfrm rot="10800000">
              <a:off x="11016567" y="4209648"/>
              <a:ext cx="8713" cy="236383"/>
            </a:xfrm>
            <a:custGeom>
              <a:avLst/>
              <a:gdLst>
                <a:gd name="connsiteX0" fmla="*/ 0 w 24279"/>
                <a:gd name="connsiteY0" fmla="*/ 0 h 172486"/>
                <a:gd name="connsiteX1" fmla="*/ 24279 w 24279"/>
                <a:gd name="connsiteY1" fmla="*/ 6469 h 172486"/>
                <a:gd name="connsiteX2" fmla="*/ 24279 w 24279"/>
                <a:gd name="connsiteY2" fmla="*/ 166017 h 172486"/>
                <a:gd name="connsiteX3" fmla="*/ 0 w 24279"/>
                <a:gd name="connsiteY3" fmla="*/ 172486 h 172486"/>
                <a:gd name="connsiteX4" fmla="*/ 0 w 24279"/>
                <a:gd name="connsiteY4" fmla="*/ 0 h 17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72486">
                  <a:moveTo>
                    <a:pt x="0" y="0"/>
                  </a:moveTo>
                  <a:lnTo>
                    <a:pt x="24279" y="6469"/>
                  </a:lnTo>
                  <a:lnTo>
                    <a:pt x="24279" y="166017"/>
                  </a:lnTo>
                  <a:lnTo>
                    <a:pt x="0" y="17248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5" name="Freeform: Shape 64">
              <a:extLst>
                <a:ext uri="{FF2B5EF4-FFF2-40B4-BE49-F238E27FC236}">
                  <a16:creationId xmlns:a16="http://schemas.microsoft.com/office/drawing/2014/main" id="{C396D01A-139A-4D40-8566-70B28317A707}"/>
                </a:ext>
              </a:extLst>
            </p:cNvPr>
            <p:cNvSpPr/>
            <p:nvPr userDrawn="1"/>
          </p:nvSpPr>
          <p:spPr>
            <a:xfrm rot="10800000">
              <a:off x="10996098" y="4230473"/>
              <a:ext cx="8713" cy="194732"/>
            </a:xfrm>
            <a:custGeom>
              <a:avLst/>
              <a:gdLst>
                <a:gd name="connsiteX0" fmla="*/ 0 w 24279"/>
                <a:gd name="connsiteY0" fmla="*/ 0 h 142094"/>
                <a:gd name="connsiteX1" fmla="*/ 24279 w 24279"/>
                <a:gd name="connsiteY1" fmla="*/ 6469 h 142094"/>
                <a:gd name="connsiteX2" fmla="*/ 24279 w 24279"/>
                <a:gd name="connsiteY2" fmla="*/ 135625 h 142094"/>
                <a:gd name="connsiteX3" fmla="*/ 0 w 24279"/>
                <a:gd name="connsiteY3" fmla="*/ 142094 h 142094"/>
                <a:gd name="connsiteX4" fmla="*/ 0 w 24279"/>
                <a:gd name="connsiteY4" fmla="*/ 0 h 142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42094">
                  <a:moveTo>
                    <a:pt x="0" y="0"/>
                  </a:moveTo>
                  <a:lnTo>
                    <a:pt x="24279" y="6469"/>
                  </a:lnTo>
                  <a:lnTo>
                    <a:pt x="24279" y="135625"/>
                  </a:lnTo>
                  <a:lnTo>
                    <a:pt x="0" y="14209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6" name="Freeform: Shape 65">
              <a:extLst>
                <a:ext uri="{FF2B5EF4-FFF2-40B4-BE49-F238E27FC236}">
                  <a16:creationId xmlns:a16="http://schemas.microsoft.com/office/drawing/2014/main" id="{82992A20-E86D-42DE-851F-C574ADEB9172}"/>
                </a:ext>
              </a:extLst>
            </p:cNvPr>
            <p:cNvSpPr/>
            <p:nvPr userDrawn="1"/>
          </p:nvSpPr>
          <p:spPr>
            <a:xfrm rot="10800000">
              <a:off x="10975629" y="4251298"/>
              <a:ext cx="8713" cy="153082"/>
            </a:xfrm>
            <a:custGeom>
              <a:avLst/>
              <a:gdLst>
                <a:gd name="connsiteX0" fmla="*/ 0 w 24279"/>
                <a:gd name="connsiteY0" fmla="*/ 0 h 111702"/>
                <a:gd name="connsiteX1" fmla="*/ 24279 w 24279"/>
                <a:gd name="connsiteY1" fmla="*/ 6469 h 111702"/>
                <a:gd name="connsiteX2" fmla="*/ 24279 w 24279"/>
                <a:gd name="connsiteY2" fmla="*/ 105233 h 111702"/>
                <a:gd name="connsiteX3" fmla="*/ 0 w 24279"/>
                <a:gd name="connsiteY3" fmla="*/ 111702 h 111702"/>
                <a:gd name="connsiteX4" fmla="*/ 0 w 24279"/>
                <a:gd name="connsiteY4" fmla="*/ 0 h 111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111702">
                  <a:moveTo>
                    <a:pt x="0" y="0"/>
                  </a:moveTo>
                  <a:lnTo>
                    <a:pt x="24279" y="6469"/>
                  </a:lnTo>
                  <a:lnTo>
                    <a:pt x="24279" y="105233"/>
                  </a:lnTo>
                  <a:lnTo>
                    <a:pt x="0" y="11170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7" name="Freeform: Shape 66">
              <a:extLst>
                <a:ext uri="{FF2B5EF4-FFF2-40B4-BE49-F238E27FC236}">
                  <a16:creationId xmlns:a16="http://schemas.microsoft.com/office/drawing/2014/main" id="{6BA52B23-A3A3-442D-B4AB-8CE1E04DC139}"/>
                </a:ext>
              </a:extLst>
            </p:cNvPr>
            <p:cNvSpPr/>
            <p:nvPr userDrawn="1"/>
          </p:nvSpPr>
          <p:spPr>
            <a:xfrm rot="10800000">
              <a:off x="10955160" y="4272124"/>
              <a:ext cx="8713" cy="111430"/>
            </a:xfrm>
            <a:custGeom>
              <a:avLst/>
              <a:gdLst>
                <a:gd name="connsiteX0" fmla="*/ 0 w 24279"/>
                <a:gd name="connsiteY0" fmla="*/ 0 h 81309"/>
                <a:gd name="connsiteX1" fmla="*/ 24279 w 24279"/>
                <a:gd name="connsiteY1" fmla="*/ 6468 h 81309"/>
                <a:gd name="connsiteX2" fmla="*/ 24279 w 24279"/>
                <a:gd name="connsiteY2" fmla="*/ 74840 h 81309"/>
                <a:gd name="connsiteX3" fmla="*/ 0 w 24279"/>
                <a:gd name="connsiteY3" fmla="*/ 81309 h 81309"/>
                <a:gd name="connsiteX4" fmla="*/ 0 w 24279"/>
                <a:gd name="connsiteY4" fmla="*/ 0 h 81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81309">
                  <a:moveTo>
                    <a:pt x="0" y="0"/>
                  </a:moveTo>
                  <a:lnTo>
                    <a:pt x="24279" y="6468"/>
                  </a:lnTo>
                  <a:lnTo>
                    <a:pt x="24279" y="74840"/>
                  </a:lnTo>
                  <a:lnTo>
                    <a:pt x="0" y="8130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sp>
          <p:nvSpPr>
            <p:cNvPr id="68" name="Freeform: Shape 67">
              <a:extLst>
                <a:ext uri="{FF2B5EF4-FFF2-40B4-BE49-F238E27FC236}">
                  <a16:creationId xmlns:a16="http://schemas.microsoft.com/office/drawing/2014/main" id="{6A44A32F-31EC-440C-85C4-1DD0F592B997}"/>
                </a:ext>
              </a:extLst>
            </p:cNvPr>
            <p:cNvSpPr/>
            <p:nvPr userDrawn="1"/>
          </p:nvSpPr>
          <p:spPr>
            <a:xfrm rot="10800000">
              <a:off x="10934700" y="4292941"/>
              <a:ext cx="8713" cy="69796"/>
            </a:xfrm>
            <a:custGeom>
              <a:avLst/>
              <a:gdLst>
                <a:gd name="connsiteX0" fmla="*/ 0 w 24279"/>
                <a:gd name="connsiteY0" fmla="*/ 0 h 50929"/>
                <a:gd name="connsiteX1" fmla="*/ 24279 w 24279"/>
                <a:gd name="connsiteY1" fmla="*/ 6468 h 50929"/>
                <a:gd name="connsiteX2" fmla="*/ 24279 w 24279"/>
                <a:gd name="connsiteY2" fmla="*/ 44460 h 50929"/>
                <a:gd name="connsiteX3" fmla="*/ 0 w 24279"/>
                <a:gd name="connsiteY3" fmla="*/ 50929 h 50929"/>
                <a:gd name="connsiteX4" fmla="*/ 0 w 24279"/>
                <a:gd name="connsiteY4" fmla="*/ 0 h 50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9" h="50929">
                  <a:moveTo>
                    <a:pt x="0" y="0"/>
                  </a:moveTo>
                  <a:lnTo>
                    <a:pt x="24279" y="6468"/>
                  </a:lnTo>
                  <a:lnTo>
                    <a:pt x="24279" y="44460"/>
                  </a:lnTo>
                  <a:lnTo>
                    <a:pt x="0" y="5092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350">
                <a:solidFill>
                  <a:schemeClr val="lt1"/>
                </a:solidFill>
              </a:endParaRPr>
            </a:p>
          </p:txBody>
        </p:sp>
      </p:grpSp>
      <p:cxnSp>
        <p:nvCxnSpPr>
          <p:cNvPr id="69" name="Straight Connector 68">
            <a:extLst>
              <a:ext uri="{FF2B5EF4-FFF2-40B4-BE49-F238E27FC236}">
                <a16:creationId xmlns:a16="http://schemas.microsoft.com/office/drawing/2014/main" id="{46F63C7E-5557-4706-A7FF-BA1054E526FE}"/>
              </a:ext>
            </a:extLst>
          </p:cNvPr>
          <p:cNvCxnSpPr>
            <a:cxnSpLocks/>
          </p:cNvCxnSpPr>
          <p:nvPr userDrawn="1"/>
        </p:nvCxnSpPr>
        <p:spPr>
          <a:xfrm>
            <a:off x="1054594" y="4948338"/>
            <a:ext cx="7546481" cy="1418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3F816485-A602-46D4-9060-3C0300E6FBAB}"/>
              </a:ext>
            </a:extLst>
          </p:cNvPr>
          <p:cNvPicPr>
            <a:picLocks noChangeAspect="1"/>
          </p:cNvPicPr>
          <p:nvPr userDrawn="1"/>
        </p:nvPicPr>
        <p:blipFill rotWithShape="1">
          <a:blip r:embed="rId2"/>
          <a:srcRect t="4060"/>
          <a:stretch/>
        </p:blipFill>
        <p:spPr>
          <a:xfrm>
            <a:off x="166482" y="4654115"/>
            <a:ext cx="856504" cy="406651"/>
          </a:xfrm>
          <a:prstGeom prst="rect">
            <a:avLst/>
          </a:prstGeom>
        </p:spPr>
      </p:pic>
      <p:sp>
        <p:nvSpPr>
          <p:cNvPr id="73" name="Title 1">
            <a:extLst>
              <a:ext uri="{FF2B5EF4-FFF2-40B4-BE49-F238E27FC236}">
                <a16:creationId xmlns:a16="http://schemas.microsoft.com/office/drawing/2014/main" id="{35780E37-0757-45EF-962B-71859C5951FD}"/>
              </a:ext>
            </a:extLst>
          </p:cNvPr>
          <p:cNvSpPr>
            <a:spLocks noGrp="1"/>
          </p:cNvSpPr>
          <p:nvPr>
            <p:ph type="title"/>
          </p:nvPr>
        </p:nvSpPr>
        <p:spPr>
          <a:xfrm>
            <a:off x="210829" y="476250"/>
            <a:ext cx="8722343" cy="416927"/>
          </a:xfrm>
        </p:spPr>
        <p:txBody>
          <a:bodyPr wrap="square" anchor="t">
            <a:noAutofit/>
          </a:bodyPr>
          <a:lstStyle>
            <a:lvl1pPr algn="l">
              <a:defRPr sz="2550" b="1">
                <a:latin typeface="Futura PT Light" panose="020B0402020204020303" pitchFamily="34" charset="0"/>
              </a:defRPr>
            </a:lvl1pPr>
          </a:lstStyle>
          <a:p>
            <a:r>
              <a:rPr lang="en-US"/>
              <a:t>Click to edit Master title style</a:t>
            </a:r>
          </a:p>
        </p:txBody>
      </p:sp>
      <p:grpSp>
        <p:nvGrpSpPr>
          <p:cNvPr id="74" name="Group 73">
            <a:extLst>
              <a:ext uri="{FF2B5EF4-FFF2-40B4-BE49-F238E27FC236}">
                <a16:creationId xmlns:a16="http://schemas.microsoft.com/office/drawing/2014/main" id="{5D3552E9-239F-45E0-AFA1-96CE7C63FA17}"/>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75" name="Rectangle 74">
              <a:extLst>
                <a:ext uri="{FF2B5EF4-FFF2-40B4-BE49-F238E27FC236}">
                  <a16:creationId xmlns:a16="http://schemas.microsoft.com/office/drawing/2014/main" id="{15E5019D-95CC-4D7B-BB1A-C611FC102BFE}"/>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6" name="Rectangle 75">
              <a:extLst>
                <a:ext uri="{FF2B5EF4-FFF2-40B4-BE49-F238E27FC236}">
                  <a16:creationId xmlns:a16="http://schemas.microsoft.com/office/drawing/2014/main" id="{3DF05CD4-7680-4203-800B-FC1A3B7CE8FB}"/>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77" name="Rectangle 76">
              <a:extLst>
                <a:ext uri="{FF2B5EF4-FFF2-40B4-BE49-F238E27FC236}">
                  <a16:creationId xmlns:a16="http://schemas.microsoft.com/office/drawing/2014/main" id="{582D37FB-B2A5-4B06-B2F9-62B0F7CF0D33}"/>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78" name="Rectangle 77">
              <a:extLst>
                <a:ext uri="{FF2B5EF4-FFF2-40B4-BE49-F238E27FC236}">
                  <a16:creationId xmlns:a16="http://schemas.microsoft.com/office/drawing/2014/main" id="{78801136-1985-4D48-A73A-FC7B7560463F}"/>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27125061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37CE7-B2E4-4765-A3B2-517BE9452BBC}"/>
              </a:ext>
            </a:extLst>
          </p:cNvPr>
          <p:cNvGraphicFramePr>
            <a:graphicFrameLocks noChangeAspect="1"/>
          </p:cNvGraphicFramePr>
          <p:nvPr userDrawn="1">
            <p:custDataLst>
              <p:tags r:id="rId1"/>
            </p:custDataLst>
            <p:extLst>
              <p:ext uri="{D42A27DB-BD31-4B8C-83A1-F6EECF244321}">
                <p14:modId xmlns:p14="http://schemas.microsoft.com/office/powerpoint/2010/main" val="22943733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BA37CE7-B2E4-4765-A3B2-517BE9452B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6FF28F-E0D8-4404-9AD8-044E0040E96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50" b="1" i="0" baseline="0">
              <a:latin typeface="Abadi" panose="020B0604020104020204" pitchFamily="34" charset="0"/>
              <a:ea typeface="+mj-ea"/>
              <a:cs typeface="+mj-cs"/>
              <a:sym typeface="Abadi" panose="020B0604020104020204" pitchFamily="34" charset="0"/>
            </a:endParaRPr>
          </a:p>
        </p:txBody>
      </p:sp>
      <p:pic>
        <p:nvPicPr>
          <p:cNvPr id="9" name="Picture 8">
            <a:extLst>
              <a:ext uri="{FF2B5EF4-FFF2-40B4-BE49-F238E27FC236}">
                <a16:creationId xmlns:a16="http://schemas.microsoft.com/office/drawing/2014/main" id="{7870D246-9874-4A0E-9B51-D617AF3A11CA}"/>
              </a:ext>
            </a:extLst>
          </p:cNvPr>
          <p:cNvPicPr>
            <a:picLocks noChangeAspect="1"/>
          </p:cNvPicPr>
          <p:nvPr userDrawn="1"/>
        </p:nvPicPr>
        <p:blipFill rotWithShape="1">
          <a:blip r:embed="rId6"/>
          <a:srcRect t="4060"/>
          <a:stretch/>
        </p:blipFill>
        <p:spPr>
          <a:xfrm>
            <a:off x="166482" y="4654115"/>
            <a:ext cx="856504" cy="406651"/>
          </a:xfrm>
          <a:prstGeom prst="rect">
            <a:avLst/>
          </a:prstGeom>
        </p:spPr>
      </p:pic>
      <p:sp>
        <p:nvSpPr>
          <p:cNvPr id="10" name="Title 1">
            <a:extLst>
              <a:ext uri="{FF2B5EF4-FFF2-40B4-BE49-F238E27FC236}">
                <a16:creationId xmlns:a16="http://schemas.microsoft.com/office/drawing/2014/main" id="{B5C4247A-C55B-438D-9226-8E3F62BD5D74}"/>
              </a:ext>
            </a:extLst>
          </p:cNvPr>
          <p:cNvSpPr>
            <a:spLocks noGrp="1"/>
          </p:cNvSpPr>
          <p:nvPr>
            <p:ph type="title"/>
          </p:nvPr>
        </p:nvSpPr>
        <p:spPr>
          <a:xfrm>
            <a:off x="210829" y="476250"/>
            <a:ext cx="8722343" cy="416927"/>
          </a:xfrm>
        </p:spPr>
        <p:txBody>
          <a:bodyPr wrap="square" anchor="t">
            <a:noAutofit/>
          </a:bodyPr>
          <a:lstStyle>
            <a:lvl1pPr algn="l">
              <a:defRPr sz="2550" b="1">
                <a:latin typeface="Futura Hv BT" panose="020B0702020204020204" pitchFamily="34" charset="0"/>
              </a:defRPr>
            </a:lvl1pPr>
          </a:lstStyle>
          <a:p>
            <a:r>
              <a:rPr lang="en-US"/>
              <a:t>Click to edit Master title style</a:t>
            </a:r>
          </a:p>
        </p:txBody>
      </p:sp>
      <p:grpSp>
        <p:nvGrpSpPr>
          <p:cNvPr id="11" name="Group 10">
            <a:extLst>
              <a:ext uri="{FF2B5EF4-FFF2-40B4-BE49-F238E27FC236}">
                <a16:creationId xmlns:a16="http://schemas.microsoft.com/office/drawing/2014/main" id="{80213EF6-2B13-4A23-8C71-8A51B04F8A6D}"/>
              </a:ext>
            </a:extLst>
          </p:cNvPr>
          <p:cNvGrpSpPr/>
          <p:nvPr userDrawn="1"/>
        </p:nvGrpSpPr>
        <p:grpSpPr>
          <a:xfrm>
            <a:off x="210829" y="0"/>
            <a:ext cx="492116" cy="323850"/>
            <a:chOff x="11115370" y="0"/>
            <a:chExt cx="795525" cy="431800"/>
          </a:xfrm>
          <a:effectLst>
            <a:outerShdw blurRad="50800" dist="38100" dir="5400000" algn="t" rotWithShape="0">
              <a:prstClr val="black">
                <a:alpha val="10000"/>
              </a:prstClr>
            </a:outerShdw>
          </a:effectLst>
        </p:grpSpPr>
        <p:sp>
          <p:nvSpPr>
            <p:cNvPr id="12" name="Rectangle 11">
              <a:extLst>
                <a:ext uri="{FF2B5EF4-FFF2-40B4-BE49-F238E27FC236}">
                  <a16:creationId xmlns:a16="http://schemas.microsoft.com/office/drawing/2014/main" id="{DD070840-9C4D-428A-B7F9-60998076C7EA}"/>
                </a:ext>
              </a:extLst>
            </p:cNvPr>
            <p:cNvSpPr>
              <a:spLocks/>
            </p:cNvSpPr>
            <p:nvPr userDrawn="1"/>
          </p:nvSpPr>
          <p:spPr>
            <a:xfrm>
              <a:off x="11713029" y="0"/>
              <a:ext cx="197866"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3" name="Rectangle 12">
              <a:extLst>
                <a:ext uri="{FF2B5EF4-FFF2-40B4-BE49-F238E27FC236}">
                  <a16:creationId xmlns:a16="http://schemas.microsoft.com/office/drawing/2014/main" id="{32741405-8DB8-4006-AFF9-C5CC06DA4175}"/>
                </a:ext>
              </a:extLst>
            </p:cNvPr>
            <p:cNvSpPr>
              <a:spLocks/>
            </p:cNvSpPr>
            <p:nvPr userDrawn="1"/>
          </p:nvSpPr>
          <p:spPr>
            <a:xfrm>
              <a:off x="11513810" y="0"/>
              <a:ext cx="197866"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lt1"/>
                </a:buClr>
              </a:pPr>
              <a:endParaRPr lang="en-US" sz="1350" b="0">
                <a:solidFill>
                  <a:schemeClr val="lt1"/>
                </a:solidFill>
              </a:endParaRPr>
            </a:p>
          </p:txBody>
        </p:sp>
        <p:sp>
          <p:nvSpPr>
            <p:cNvPr id="14" name="Rectangle 13">
              <a:extLst>
                <a:ext uri="{FF2B5EF4-FFF2-40B4-BE49-F238E27FC236}">
                  <a16:creationId xmlns:a16="http://schemas.microsoft.com/office/drawing/2014/main" id="{A21E0A4C-6179-456F-A19E-594DEBD627BD}"/>
                </a:ext>
              </a:extLst>
            </p:cNvPr>
            <p:cNvSpPr>
              <a:spLocks/>
            </p:cNvSpPr>
            <p:nvPr userDrawn="1"/>
          </p:nvSpPr>
          <p:spPr>
            <a:xfrm>
              <a:off x="11115370" y="0"/>
              <a:ext cx="197866"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tx2"/>
                </a:buClr>
              </a:pPr>
              <a:endParaRPr lang="en-US" sz="1350" b="0">
                <a:solidFill>
                  <a:schemeClr val="tx1"/>
                </a:solidFill>
              </a:endParaRPr>
            </a:p>
          </p:txBody>
        </p:sp>
        <p:sp>
          <p:nvSpPr>
            <p:cNvPr id="15" name="Rectangle 14">
              <a:extLst>
                <a:ext uri="{FF2B5EF4-FFF2-40B4-BE49-F238E27FC236}">
                  <a16:creationId xmlns:a16="http://schemas.microsoft.com/office/drawing/2014/main" id="{686B058C-15B3-4306-BDB2-410EE4DB7859}"/>
                </a:ext>
              </a:extLst>
            </p:cNvPr>
            <p:cNvSpPr>
              <a:spLocks/>
            </p:cNvSpPr>
            <p:nvPr userDrawn="1"/>
          </p:nvSpPr>
          <p:spPr>
            <a:xfrm>
              <a:off x="11314590" y="0"/>
              <a:ext cx="197866" cy="431800"/>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grpSp>
    </p:spTree>
    <p:extLst>
      <p:ext uri="{BB962C8B-B14F-4D97-AF65-F5344CB8AC3E}">
        <p14:creationId xmlns:p14="http://schemas.microsoft.com/office/powerpoint/2010/main" val="3315956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FAA78C2-B42E-4429-8173-0B1EC994A292}"/>
              </a:ext>
            </a:extLst>
          </p:cNvPr>
          <p:cNvGraphicFramePr>
            <a:graphicFrameLocks noChangeAspect="1"/>
          </p:cNvGraphicFramePr>
          <p:nvPr userDrawn="1">
            <p:custDataLst>
              <p:tags r:id="rId1"/>
            </p:custDataLst>
            <p:extLst>
              <p:ext uri="{D42A27DB-BD31-4B8C-83A1-F6EECF244321}">
                <p14:modId xmlns:p14="http://schemas.microsoft.com/office/powerpoint/2010/main" val="264921818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9FAA78C2-B42E-4429-8173-0B1EC994A29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990F74A-DFDA-4C31-BF0B-45EF64A6C90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50" b="0" i="0" baseline="0">
              <a:latin typeface="Abadi" panose="020B0604020104020204" pitchFamily="34" charset="0"/>
              <a:ea typeface="+mj-ea"/>
              <a:cs typeface="+mj-cs"/>
              <a:sym typeface="Abadi" panose="020B0604020104020204" pitchFamily="34" charset="0"/>
            </a:endParaRPr>
          </a:p>
        </p:txBody>
      </p:sp>
      <p:pic>
        <p:nvPicPr>
          <p:cNvPr id="14" name="Picture 13" descr="A city next to a body of water&#10;&#10;Description automatically generated with medium confidence">
            <a:extLst>
              <a:ext uri="{FF2B5EF4-FFF2-40B4-BE49-F238E27FC236}">
                <a16:creationId xmlns:a16="http://schemas.microsoft.com/office/drawing/2014/main" id="{4CD49F54-DFD2-4DC7-BF03-A155C59C598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5143501"/>
          </a:xfrm>
          <a:prstGeom prst="rect">
            <a:avLst/>
          </a:prstGeom>
        </p:spPr>
      </p:pic>
      <p:sp>
        <p:nvSpPr>
          <p:cNvPr id="27" name="Rectangle 26">
            <a:extLst>
              <a:ext uri="{FF2B5EF4-FFF2-40B4-BE49-F238E27FC236}">
                <a16:creationId xmlns:a16="http://schemas.microsoft.com/office/drawing/2014/main" id="{282CDA8A-FA62-42F9-9498-848A61D94EFC}"/>
              </a:ext>
            </a:extLst>
          </p:cNvPr>
          <p:cNvSpPr>
            <a:spLocks/>
          </p:cNvSpPr>
          <p:nvPr userDrawn="1"/>
        </p:nvSpPr>
        <p:spPr>
          <a:xfrm>
            <a:off x="0" y="0"/>
            <a:ext cx="9144000" cy="5143500"/>
          </a:xfrm>
          <a:prstGeom prst="rect">
            <a:avLst/>
          </a:prstGeom>
          <a:solidFill>
            <a:schemeClr val="tx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p>
        </p:txBody>
      </p:sp>
      <p:sp>
        <p:nvSpPr>
          <p:cNvPr id="15" name="Rectangle 14">
            <a:extLst>
              <a:ext uri="{FF2B5EF4-FFF2-40B4-BE49-F238E27FC236}">
                <a16:creationId xmlns:a16="http://schemas.microsoft.com/office/drawing/2014/main" id="{898E472B-F1C5-441A-A531-CBE88D63DBB4}"/>
              </a:ext>
            </a:extLst>
          </p:cNvPr>
          <p:cNvSpPr/>
          <p:nvPr userDrawn="1"/>
        </p:nvSpPr>
        <p:spPr>
          <a:xfrm>
            <a:off x="-4083" y="2000250"/>
            <a:ext cx="9144000" cy="262890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16">
            <a:extLst>
              <a:ext uri="{FF2B5EF4-FFF2-40B4-BE49-F238E27FC236}">
                <a16:creationId xmlns:a16="http://schemas.microsoft.com/office/drawing/2014/main" id="{30725CCF-6603-408F-AAAF-E768781038EB}"/>
              </a:ext>
            </a:extLst>
          </p:cNvPr>
          <p:cNvSpPr/>
          <p:nvPr userDrawn="1"/>
        </p:nvSpPr>
        <p:spPr>
          <a:xfrm>
            <a:off x="8039100" y="0"/>
            <a:ext cx="781050" cy="1114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Title 4">
            <a:extLst>
              <a:ext uri="{FF2B5EF4-FFF2-40B4-BE49-F238E27FC236}">
                <a16:creationId xmlns:a16="http://schemas.microsoft.com/office/drawing/2014/main" id="{63D58C31-51BD-40B0-93FE-D363FAD82C1B}"/>
              </a:ext>
            </a:extLst>
          </p:cNvPr>
          <p:cNvSpPr>
            <a:spLocks noGrp="1"/>
          </p:cNvSpPr>
          <p:nvPr>
            <p:ph type="title"/>
          </p:nvPr>
        </p:nvSpPr>
        <p:spPr>
          <a:xfrm>
            <a:off x="400050" y="2366962"/>
            <a:ext cx="6696075" cy="1246495"/>
          </a:xfrm>
        </p:spPr>
        <p:txBody>
          <a:bodyPr vert="horz" wrap="square" lIns="0" tIns="0" rIns="0" bIns="0" rtlCol="0" anchor="b">
            <a:spAutoFit/>
          </a:bodyPr>
          <a:lstStyle>
            <a:lvl1pPr algn="l">
              <a:defRPr lang="en-US" sz="4500" b="1" i="0">
                <a:solidFill>
                  <a:schemeClr val="bg1"/>
                </a:solidFill>
                <a:latin typeface="Futura PT Heavy" panose="020B0502020204020303" pitchFamily="34" charset="77"/>
              </a:defRPr>
            </a:lvl1pPr>
          </a:lstStyle>
          <a:p>
            <a:pPr marL="0" lvl="0" algn="l"/>
            <a:r>
              <a:rPr lang="en-US"/>
              <a:t>Click to edit Master title style</a:t>
            </a:r>
          </a:p>
        </p:txBody>
      </p:sp>
      <p:sp>
        <p:nvSpPr>
          <p:cNvPr id="19" name="Text Placeholder 11">
            <a:extLst>
              <a:ext uri="{FF2B5EF4-FFF2-40B4-BE49-F238E27FC236}">
                <a16:creationId xmlns:a16="http://schemas.microsoft.com/office/drawing/2014/main" id="{E4E9BA03-0BD2-4486-B2F6-B78C04F82A76}"/>
              </a:ext>
            </a:extLst>
          </p:cNvPr>
          <p:cNvSpPr>
            <a:spLocks noGrp="1"/>
          </p:cNvSpPr>
          <p:nvPr>
            <p:ph type="body" sz="quarter" idx="11" hasCustomPrompt="1"/>
          </p:nvPr>
        </p:nvSpPr>
        <p:spPr>
          <a:xfrm>
            <a:off x="400050" y="3783717"/>
            <a:ext cx="6696075" cy="323165"/>
          </a:xfrm>
        </p:spPr>
        <p:txBody>
          <a:bodyPr vert="horz" wrap="square" lIns="0" tIns="0" rIns="0" bIns="0" rtlCol="0">
            <a:noAutofit/>
          </a:bodyPr>
          <a:lstStyle>
            <a:lvl1pPr>
              <a:defRPr lang="en-US" sz="2100" b="1" i="0" dirty="0" smtClean="0">
                <a:solidFill>
                  <a:schemeClr val="bg1"/>
                </a:solidFill>
                <a:latin typeface="Futura PT Heavy" panose="020B0502020204020303" pitchFamily="34" charset="77"/>
              </a:defRPr>
            </a:lvl1pPr>
          </a:lstStyle>
          <a:p>
            <a:pPr lvl="0"/>
            <a:r>
              <a:rPr lang="en-US"/>
              <a:t>Click to edit Master subtitle style</a:t>
            </a:r>
          </a:p>
        </p:txBody>
      </p:sp>
      <p:sp>
        <p:nvSpPr>
          <p:cNvPr id="20" name="Text Placeholder 48">
            <a:extLst>
              <a:ext uri="{FF2B5EF4-FFF2-40B4-BE49-F238E27FC236}">
                <a16:creationId xmlns:a16="http://schemas.microsoft.com/office/drawing/2014/main" id="{FFFC8556-B1D2-4BB2-B0C2-A1A160F00727}"/>
              </a:ext>
            </a:extLst>
          </p:cNvPr>
          <p:cNvSpPr>
            <a:spLocks noGrp="1"/>
          </p:cNvSpPr>
          <p:nvPr>
            <p:ph type="body" sz="quarter" idx="10" hasCustomPrompt="1"/>
          </p:nvPr>
        </p:nvSpPr>
        <p:spPr>
          <a:xfrm>
            <a:off x="400050" y="4277141"/>
            <a:ext cx="6696075" cy="207749"/>
          </a:xfrm>
        </p:spPr>
        <p:txBody>
          <a:bodyPr vert="horz" wrap="square" lIns="0" tIns="0" rIns="0" bIns="0" rtlCol="0">
            <a:spAutoFit/>
          </a:bodyPr>
          <a:lstStyle>
            <a:lvl1pPr>
              <a:defRPr lang="en-US" sz="1500" b="1" i="0" dirty="0">
                <a:solidFill>
                  <a:schemeClr val="bg1"/>
                </a:solidFill>
                <a:latin typeface="Futura PT Heavy" panose="020B0502020204020303" pitchFamily="34" charset="77"/>
              </a:defRPr>
            </a:lvl1pPr>
          </a:lstStyle>
          <a:p>
            <a:pPr lvl="0"/>
            <a:r>
              <a:rPr lang="en-US"/>
              <a:t>Document type | Date</a:t>
            </a:r>
          </a:p>
        </p:txBody>
      </p:sp>
      <p:pic>
        <p:nvPicPr>
          <p:cNvPr id="21" name="Picture 20" descr="A picture containing text, device, gauge, meter&#10;&#10;Description automatically generated">
            <a:extLst>
              <a:ext uri="{FF2B5EF4-FFF2-40B4-BE49-F238E27FC236}">
                <a16:creationId xmlns:a16="http://schemas.microsoft.com/office/drawing/2014/main" id="{C9007341-523E-49B2-9BAE-B4E241D36A4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00926" y="2207976"/>
            <a:ext cx="1680101" cy="603268"/>
          </a:xfrm>
          <a:prstGeom prst="rect">
            <a:avLst/>
          </a:prstGeom>
        </p:spPr>
      </p:pic>
      <p:sp>
        <p:nvSpPr>
          <p:cNvPr id="22" name="Picture Placeholder 4">
            <a:extLst>
              <a:ext uri="{FF2B5EF4-FFF2-40B4-BE49-F238E27FC236}">
                <a16:creationId xmlns:a16="http://schemas.microsoft.com/office/drawing/2014/main" id="{57BE4070-95DB-44B9-B7BF-A0EF16F0DF19}"/>
              </a:ext>
            </a:extLst>
          </p:cNvPr>
          <p:cNvSpPr>
            <a:spLocks noGrp="1"/>
          </p:cNvSpPr>
          <p:nvPr>
            <p:ph type="pic" sz="quarter" idx="12" hasCustomPrompt="1"/>
          </p:nvPr>
        </p:nvSpPr>
        <p:spPr>
          <a:xfrm>
            <a:off x="7543800" y="3884086"/>
            <a:ext cx="1428750" cy="623888"/>
          </a:xfrm>
        </p:spPr>
        <p:txBody>
          <a:bodyPr>
            <a:normAutofit/>
          </a:bodyPr>
          <a:lstStyle>
            <a:lvl1pPr>
              <a:defRPr sz="1650">
                <a:solidFill>
                  <a:schemeClr val="bg1"/>
                </a:solidFill>
              </a:defRPr>
            </a:lvl1pPr>
          </a:lstStyle>
          <a:p>
            <a:r>
              <a:rPr lang="en-US"/>
              <a:t>Client Logo</a:t>
            </a:r>
          </a:p>
        </p:txBody>
      </p:sp>
    </p:spTree>
    <p:extLst>
      <p:ext uri="{BB962C8B-B14F-4D97-AF65-F5344CB8AC3E}">
        <p14:creationId xmlns:p14="http://schemas.microsoft.com/office/powerpoint/2010/main" val="6090686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14ABC6-081E-475B-9912-BE83E8CD995B}"/>
              </a:ext>
            </a:extLst>
          </p:cNvPr>
          <p:cNvSpPr>
            <a:spLocks noGrp="1"/>
          </p:cNvSpPr>
          <p:nvPr>
            <p:ph type="dt" sz="half" idx="10"/>
          </p:nvPr>
        </p:nvSpPr>
        <p:spPr/>
        <p:txBody>
          <a:bodyPr/>
          <a:lstStyle/>
          <a:p>
            <a:fld id="{E6240AE7-44D4-4466-8506-4C05625100EE}" type="datetimeFigureOut">
              <a:rPr lang="en-US" smtClean="0"/>
              <a:t>10/7/2025</a:t>
            </a:fld>
            <a:endParaRPr lang="en-US"/>
          </a:p>
        </p:txBody>
      </p:sp>
      <p:sp>
        <p:nvSpPr>
          <p:cNvPr id="3" name="Footer Placeholder 2">
            <a:extLst>
              <a:ext uri="{FF2B5EF4-FFF2-40B4-BE49-F238E27FC236}">
                <a16:creationId xmlns:a16="http://schemas.microsoft.com/office/drawing/2014/main" id="{C9938EAF-938D-4556-8A65-7F1AAEA8C63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09249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6737095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with Righ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00149"/>
            <a:ext cx="4826000" cy="315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A70D442-B9FB-491C-A565-5BE8A85F6285}" type="slidenum">
              <a:rPr lang="en-US" smtClean="0"/>
              <a:t>‹#›</a:t>
            </a:fld>
            <a:endParaRPr lang="en-US"/>
          </a:p>
        </p:txBody>
      </p:sp>
      <p:sp>
        <p:nvSpPr>
          <p:cNvPr id="7" name="Picture Placeholder 2"/>
          <p:cNvSpPr>
            <a:spLocks noGrp="1"/>
          </p:cNvSpPr>
          <p:nvPr>
            <p:ph type="pic" sz="quarter" idx="14" hasCustomPrompt="1"/>
          </p:nvPr>
        </p:nvSpPr>
        <p:spPr>
          <a:xfrm>
            <a:off x="5419724" y="-1"/>
            <a:ext cx="3724275" cy="4587875"/>
          </a:xfrm>
        </p:spPr>
        <p:txBody>
          <a:bodyPr vert="horz" lIns="0" tIns="0" rIns="0" bIns="0" rtlCol="0">
            <a:normAutofit/>
          </a:bodyPr>
          <a:lstStyle>
            <a:lvl1pPr marL="287338" indent="-287338">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4" name="Title 3"/>
          <p:cNvSpPr>
            <a:spLocks noGrp="1"/>
          </p:cNvSpPr>
          <p:nvPr>
            <p:ph type="title"/>
          </p:nvPr>
        </p:nvSpPr>
        <p:spPr>
          <a:xfrm>
            <a:off x="228600" y="233363"/>
            <a:ext cx="4840357" cy="732112"/>
          </a:xfrm>
        </p:spPr>
        <p:txBody>
          <a:bodyPr/>
          <a:lstStyle/>
          <a:p>
            <a:r>
              <a:rPr lang="en-US"/>
              <a:t>Click to edit Master title style</a:t>
            </a:r>
          </a:p>
        </p:txBody>
      </p:sp>
      <p:pic>
        <p:nvPicPr>
          <p:cNvPr id="8" name="Picture 7">
            <a:extLst>
              <a:ext uri="{FF2B5EF4-FFF2-40B4-BE49-F238E27FC236}">
                <a16:creationId xmlns:a16="http://schemas.microsoft.com/office/drawing/2014/main" id="{7D50B5C3-5D1E-394F-8A27-BC4812E46F62}"/>
              </a:ext>
            </a:extLst>
          </p:cNvPr>
          <p:cNvPicPr>
            <a:picLocks noChangeAspect="1"/>
          </p:cNvPicPr>
          <p:nvPr userDrawn="1"/>
        </p:nvPicPr>
        <p:blipFill rotWithShape="1">
          <a:blip r:embed="rId2"/>
          <a:srcRect l="4334" t="9546" r="3294" b="28937"/>
          <a:stretch/>
        </p:blipFill>
        <p:spPr>
          <a:xfrm>
            <a:off x="210829" y="4641274"/>
            <a:ext cx="1074253" cy="354044"/>
          </a:xfrm>
          <a:prstGeom prst="rect">
            <a:avLst/>
          </a:prstGeom>
        </p:spPr>
      </p:pic>
      <p:sp>
        <p:nvSpPr>
          <p:cNvPr id="9" name="Rectangle 8">
            <a:extLst>
              <a:ext uri="{FF2B5EF4-FFF2-40B4-BE49-F238E27FC236}">
                <a16:creationId xmlns:a16="http://schemas.microsoft.com/office/drawing/2014/main" id="{E9B1BC26-BA6E-5349-84EC-71E7F4BBFDFE}"/>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6">
            <a:extLst>
              <a:ext uri="{FF2B5EF4-FFF2-40B4-BE49-F238E27FC236}">
                <a16:creationId xmlns:a16="http://schemas.microsoft.com/office/drawing/2014/main" id="{B51FE9A9-8329-B74D-879B-901673E487C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0497426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Right Imag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228601" y="227012"/>
            <a:ext cx="4118020" cy="738463"/>
          </a:xfrm>
        </p:spPr>
        <p:txBody>
          <a:bodyPr vert="horz" lIns="0" tIns="0" rIns="0" bIns="0" rtlCol="0" anchor="t">
            <a:noAutofit/>
          </a:bodyPr>
          <a:lstStyle>
            <a:lvl1pPr>
              <a:defRPr lang="en-US" dirty="0"/>
            </a:lvl1pPr>
          </a:lstStyle>
          <a:p>
            <a:pPr lvl="0"/>
            <a:r>
              <a:rPr lang="en-US"/>
              <a:t>Click to edit Master title style</a:t>
            </a:r>
          </a:p>
        </p:txBody>
      </p:sp>
      <p:sp>
        <p:nvSpPr>
          <p:cNvPr id="7" name="Picture Placeholder 2"/>
          <p:cNvSpPr>
            <a:spLocks noGrp="1"/>
          </p:cNvSpPr>
          <p:nvPr>
            <p:ph type="pic" sz="quarter" idx="14" hasCustomPrompt="1"/>
          </p:nvPr>
        </p:nvSpPr>
        <p:spPr>
          <a:xfrm>
            <a:off x="4572000" y="-1"/>
            <a:ext cx="4572000" cy="4587875"/>
          </a:xfrm>
        </p:spPr>
        <p:txBody>
          <a:bodyPr vert="horz" lIns="0" tIns="0" rIns="0" bIns="0" rtlCol="0">
            <a:normAutofit/>
          </a:bodyPr>
          <a:lstStyle>
            <a:lvl1pPr marL="287338" indent="-287338">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3" name="Slide Number Placeholder 2"/>
          <p:cNvSpPr>
            <a:spLocks noGrp="1"/>
          </p:cNvSpPr>
          <p:nvPr>
            <p:ph type="sldNum" sz="quarter" idx="15"/>
          </p:nvPr>
        </p:nvSpPr>
        <p:spPr/>
        <p:txBody>
          <a:bodyPr/>
          <a:lstStyle/>
          <a:p>
            <a:fld id="{5A70D442-B9FB-491C-A565-5BE8A85F6285}" type="slidenum">
              <a:rPr lang="en-US" smtClean="0"/>
              <a:pPr/>
              <a:t>‹#›</a:t>
            </a:fld>
            <a:endParaRPr lang="en-US"/>
          </a:p>
        </p:txBody>
      </p:sp>
      <p:pic>
        <p:nvPicPr>
          <p:cNvPr id="5" name="Picture 4">
            <a:extLst>
              <a:ext uri="{FF2B5EF4-FFF2-40B4-BE49-F238E27FC236}">
                <a16:creationId xmlns:a16="http://schemas.microsoft.com/office/drawing/2014/main" id="{D9334249-5A4B-0546-B37E-8B0AF0A47570}"/>
              </a:ext>
            </a:extLst>
          </p:cNvPr>
          <p:cNvPicPr>
            <a:picLocks noChangeAspect="1"/>
          </p:cNvPicPr>
          <p:nvPr userDrawn="1"/>
        </p:nvPicPr>
        <p:blipFill rotWithShape="1">
          <a:blip r:embed="rId2"/>
          <a:srcRect l="4334" t="9546" r="3294" b="28937"/>
          <a:stretch/>
        </p:blipFill>
        <p:spPr>
          <a:xfrm>
            <a:off x="210829" y="4641274"/>
            <a:ext cx="1074253" cy="354044"/>
          </a:xfrm>
          <a:prstGeom prst="rect">
            <a:avLst/>
          </a:prstGeom>
        </p:spPr>
      </p:pic>
      <p:sp>
        <p:nvSpPr>
          <p:cNvPr id="6" name="Rectangle 5">
            <a:extLst>
              <a:ext uri="{FF2B5EF4-FFF2-40B4-BE49-F238E27FC236}">
                <a16:creationId xmlns:a16="http://schemas.microsoft.com/office/drawing/2014/main" id="{E9C20657-34A2-4F43-AA67-C8AC1346F67D}"/>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6">
            <a:extLst>
              <a:ext uri="{FF2B5EF4-FFF2-40B4-BE49-F238E27FC236}">
                <a16:creationId xmlns:a16="http://schemas.microsoft.com/office/drawing/2014/main" id="{6BD810FA-186B-6F47-B26B-38202C803911}"/>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60726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152536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25103750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70D442-B9FB-491C-A565-5BE8A85F6285}" type="slidenum">
              <a:rPr lang="en-US" smtClean="0"/>
              <a:t>‹#›</a:t>
            </a:fld>
            <a:endParaRPr lang="en-US"/>
          </a:p>
        </p:txBody>
      </p:sp>
      <p:sp>
        <p:nvSpPr>
          <p:cNvPr id="5" name="Picture Placeholder 2"/>
          <p:cNvSpPr>
            <a:spLocks noGrp="1"/>
          </p:cNvSpPr>
          <p:nvPr>
            <p:ph type="pic" sz="quarter" idx="18" hasCustomPrompt="1"/>
          </p:nvPr>
        </p:nvSpPr>
        <p:spPr>
          <a:xfrm>
            <a:off x="0" y="0"/>
            <a:ext cx="9144000"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pic>
        <p:nvPicPr>
          <p:cNvPr id="7" name="Picture 6">
            <a:extLst>
              <a:ext uri="{FF2B5EF4-FFF2-40B4-BE49-F238E27FC236}">
                <a16:creationId xmlns:a16="http://schemas.microsoft.com/office/drawing/2014/main" id="{EE7DBB88-E4E1-B844-8BEA-9289135A25F7}"/>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8" name="Rectangle 7">
            <a:extLst>
              <a:ext uri="{FF2B5EF4-FFF2-40B4-BE49-F238E27FC236}">
                <a16:creationId xmlns:a16="http://schemas.microsoft.com/office/drawing/2014/main" id="{53FB9951-1191-CD46-A32C-2BE699512EC3}"/>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Slide Number Placeholder 6">
            <a:extLst>
              <a:ext uri="{FF2B5EF4-FFF2-40B4-BE49-F238E27FC236}">
                <a16:creationId xmlns:a16="http://schemas.microsoft.com/office/drawing/2014/main" id="{2D824B13-173A-BE42-9D27-600A2B4EC4D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3167655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3BE70-6277-8B96-CFEE-4FD105A8C6E5}"/>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322CEBD-4F2B-CC6A-3052-599527463B6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65FB474-65CE-4392-92FF-E1C864883E2F}"/>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526A152D-CBAA-709D-D951-0960BBE7B4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7835DE-849C-9BF0-C2D5-2F5253D6AC3D}"/>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7298048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C338F-64AE-C68F-0D44-2A525D2D14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9596AA-421B-6D5F-2062-483333451D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3333DF-C5E9-DB66-A690-D9B263487479}"/>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416DEF21-DCD2-3BFA-9A92-0737F7AEAD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60F5DB-DFC8-88E2-BD06-7540E608D5DB}"/>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1915459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3ED96-C4A4-CAA2-4F85-F6D11582220C}"/>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47F7A05-650D-49F7-4EE0-E25C83E32669}"/>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616B7D-BD63-85FC-1D83-FB987E635F17}"/>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900C0C05-F32A-FE3D-98B6-E592FB2512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A7294-BD42-6AC3-5851-F1BC41D6E23D}"/>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0114651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DEED9-F354-B8C8-5F3E-CB925A94A5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FFA311-270E-C552-0DA9-CD9811CE9FC3}"/>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EC73AF-D06E-C89D-95D3-278B58D01483}"/>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46007C-DB2D-D586-D165-5F92403C1EDF}"/>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6" name="Footer Placeholder 5">
            <a:extLst>
              <a:ext uri="{FF2B5EF4-FFF2-40B4-BE49-F238E27FC236}">
                <a16:creationId xmlns:a16="http://schemas.microsoft.com/office/drawing/2014/main" id="{B607EC12-6FBF-C443-6268-1EB33C3B00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387C20-26FE-C416-E994-A2C3E327DF61}"/>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4180227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FF9C4-59D1-FF51-B93B-3A93E05A3432}"/>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859684-E465-E5E2-A538-78F9F5C272B1}"/>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F548093-23AB-CAC0-C140-3F2FD190609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FA5B97-B5A4-3D32-35EA-146D8A029F3F}"/>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1B8B-A3B0-B71B-AB6D-CAB19A814650}"/>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EEA4E9-6A5C-E2D0-2AF7-616BAD7CF69C}"/>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8" name="Footer Placeholder 7">
            <a:extLst>
              <a:ext uri="{FF2B5EF4-FFF2-40B4-BE49-F238E27FC236}">
                <a16:creationId xmlns:a16="http://schemas.microsoft.com/office/drawing/2014/main" id="{1E5D65CB-592B-02CF-07D0-3D46654B59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334032-857B-0999-8CA5-86B56A88C0D6}"/>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39969455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606B5-1C66-1A7A-9E89-7602567F7C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D95E4E-FA54-18E9-8A47-5F6FB97FC92F}"/>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4" name="Footer Placeholder 3">
            <a:extLst>
              <a:ext uri="{FF2B5EF4-FFF2-40B4-BE49-F238E27FC236}">
                <a16:creationId xmlns:a16="http://schemas.microsoft.com/office/drawing/2014/main" id="{D1DF086C-08F4-0D6C-0A33-1A9F074AAC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F44CB3E-00A1-55D4-51E6-2F046D21AE07}"/>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4991285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54A3F1-B0CF-8049-7011-943E926A9ACB}"/>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3" name="Footer Placeholder 2">
            <a:extLst>
              <a:ext uri="{FF2B5EF4-FFF2-40B4-BE49-F238E27FC236}">
                <a16:creationId xmlns:a16="http://schemas.microsoft.com/office/drawing/2014/main" id="{339DEC82-8A4D-98D2-0FAB-5F84681BC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797998-C490-3D2C-A6D0-6101EBFE912A}"/>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3662864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E4322-B4EC-40C9-55AF-8C55AAEB261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B2E4EE7-62A5-1A0C-B951-7321FD71D931}"/>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3DEB13-DD46-6FE0-6C60-479BECF9076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B7AA9DB-816E-98A8-05A2-28AA39F8E5F4}"/>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6" name="Footer Placeholder 5">
            <a:extLst>
              <a:ext uri="{FF2B5EF4-FFF2-40B4-BE49-F238E27FC236}">
                <a16:creationId xmlns:a16="http://schemas.microsoft.com/office/drawing/2014/main" id="{E53096F3-F9BC-AEF6-2DEA-BD45D2A97A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70F1A5-C85C-EF89-DD38-5AA800483A39}"/>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2250562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AA0B-53EB-D9F2-612F-6FA822C0B5A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CEFA229-0D3B-6BC3-96F4-D319A693224E}"/>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90CCBC3-6BDD-0347-2DC4-151E389E89D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929E051-2909-CBE5-EDF3-042DD208B9CA}"/>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6" name="Footer Placeholder 5">
            <a:extLst>
              <a:ext uri="{FF2B5EF4-FFF2-40B4-BE49-F238E27FC236}">
                <a16:creationId xmlns:a16="http://schemas.microsoft.com/office/drawing/2014/main" id="{E0C99B47-0CD0-ED03-ADCE-9FE154C1BC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DE508D-E974-2FEB-8D6B-3A714A40D679}"/>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2330706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211723"/>
            <a:ext cx="8722343" cy="347690"/>
          </a:xfrm>
        </p:spPr>
        <p:txBody>
          <a:bodyPr wrap="square" anchor="ctr">
            <a:noAutofit/>
          </a:bodyPr>
          <a:lstStyle>
            <a:lvl1pPr algn="l">
              <a:defRPr sz="2550" b="1">
                <a:solidFill>
                  <a:schemeClr val="bg1"/>
                </a:solidFill>
                <a:latin typeface="+mj-lt"/>
              </a:defRPr>
            </a:lvl1pPr>
          </a:lstStyle>
          <a:p>
            <a:r>
              <a:rPr lang="en-US"/>
              <a:t>Click to edit Master title style</a:t>
            </a:r>
          </a:p>
        </p:txBody>
      </p:sp>
      <p:pic>
        <p:nvPicPr>
          <p:cNvPr id="9" name="Picture 8">
            <a:extLst>
              <a:ext uri="{FF2B5EF4-FFF2-40B4-BE49-F238E27FC236}">
                <a16:creationId xmlns:a16="http://schemas.microsoft.com/office/drawing/2014/main" id="{6A41D14A-4CC6-6748-B6EE-52A3ACF3C75A}"/>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0116410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AC617-7217-C217-2154-B978206FD7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D18649-577E-A2FE-D8BA-E420FC4905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AB2540-B946-AD0A-B2CE-7B0DF916CE1C}"/>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00B05AF7-DEF0-1B21-4CAB-B81E3C9A1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3B9D18-97BA-51E4-B7D1-ADEF5643FBCF}"/>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4202955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46EEFE-19AD-394A-DFAB-912CF7436C4B}"/>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F8EDD1B-734D-DA4A-D844-498B4FF16328}"/>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BA31A8-5299-FDD8-756B-F3CDB54FB0E2}"/>
              </a:ext>
            </a:extLst>
          </p:cNvPr>
          <p:cNvSpPr>
            <a:spLocks noGrp="1"/>
          </p:cNvSpPr>
          <p:nvPr>
            <p:ph type="dt" sz="half" idx="10"/>
          </p:nvPr>
        </p:nvSpPr>
        <p:spPr/>
        <p:txBody>
          <a:body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E2ABF848-0ECC-1EBE-BE4D-96A526D824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B96A7-2386-7565-CFD5-51803E8EB64E}"/>
              </a:ext>
            </a:extLst>
          </p:cNvPr>
          <p:cNvSpPr>
            <a:spLocks noGrp="1"/>
          </p:cNvSpPr>
          <p:nvPr>
            <p:ph type="sldNum" sz="quarter" idx="12"/>
          </p:nvPr>
        </p:nvSpPr>
        <p:spPr/>
        <p:txBody>
          <a:bodyPr/>
          <a:lstStyle/>
          <a:p>
            <a:fld id="{B6726ECB-DFD4-49BD-9E6D-292A4238BAD0}" type="slidenum">
              <a:rPr lang="en-US" smtClean="0"/>
              <a:t>‹#›</a:t>
            </a:fld>
            <a:endParaRPr lang="en-US"/>
          </a:p>
        </p:txBody>
      </p:sp>
    </p:spTree>
    <p:extLst>
      <p:ext uri="{BB962C8B-B14F-4D97-AF65-F5344CB8AC3E}">
        <p14:creationId xmlns:p14="http://schemas.microsoft.com/office/powerpoint/2010/main" val="14414577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30"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30"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4054199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Content with Right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200150"/>
            <a:ext cx="4826000" cy="315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A70D442-B9FB-491C-A565-5BE8A85F6285}" type="slidenum">
              <a:rPr lang="en-US" smtClean="0"/>
              <a:t>‹#›</a:t>
            </a:fld>
            <a:endParaRPr lang="en-US"/>
          </a:p>
        </p:txBody>
      </p:sp>
      <p:sp>
        <p:nvSpPr>
          <p:cNvPr id="7" name="Picture Placeholder 2"/>
          <p:cNvSpPr>
            <a:spLocks noGrp="1"/>
          </p:cNvSpPr>
          <p:nvPr>
            <p:ph type="pic" sz="quarter" idx="14" hasCustomPrompt="1"/>
          </p:nvPr>
        </p:nvSpPr>
        <p:spPr>
          <a:xfrm>
            <a:off x="5419724" y="0"/>
            <a:ext cx="3724275"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4" name="Title 3"/>
          <p:cNvSpPr>
            <a:spLocks noGrp="1"/>
          </p:cNvSpPr>
          <p:nvPr>
            <p:ph type="title"/>
          </p:nvPr>
        </p:nvSpPr>
        <p:spPr>
          <a:xfrm>
            <a:off x="228601" y="233364"/>
            <a:ext cx="4840357" cy="732112"/>
          </a:xfrm>
        </p:spPr>
        <p:txBody>
          <a:bodyPr/>
          <a:lstStyle/>
          <a:p>
            <a:r>
              <a:rPr lang="en-US"/>
              <a:t>Click to edit Master title style</a:t>
            </a:r>
          </a:p>
        </p:txBody>
      </p:sp>
      <p:pic>
        <p:nvPicPr>
          <p:cNvPr id="8" name="Picture 7">
            <a:extLst>
              <a:ext uri="{FF2B5EF4-FFF2-40B4-BE49-F238E27FC236}">
                <a16:creationId xmlns:a16="http://schemas.microsoft.com/office/drawing/2014/main" id="{7D50B5C3-5D1E-394F-8A27-BC4812E46F62}"/>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9" name="Rectangle 8">
            <a:extLst>
              <a:ext uri="{FF2B5EF4-FFF2-40B4-BE49-F238E27FC236}">
                <a16:creationId xmlns:a16="http://schemas.microsoft.com/office/drawing/2014/main" id="{E9B1BC26-BA6E-5349-84EC-71E7F4BBFDFE}"/>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6">
            <a:extLst>
              <a:ext uri="{FF2B5EF4-FFF2-40B4-BE49-F238E27FC236}">
                <a16:creationId xmlns:a16="http://schemas.microsoft.com/office/drawing/2014/main" id="{B51FE9A9-8329-B74D-879B-901673E487C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609044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Right Imag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228602" y="227013"/>
            <a:ext cx="4118020" cy="738463"/>
          </a:xfrm>
        </p:spPr>
        <p:txBody>
          <a:bodyPr vert="horz" lIns="0" tIns="0" rIns="0" bIns="0" rtlCol="0" anchor="t">
            <a:noAutofit/>
          </a:bodyPr>
          <a:lstStyle>
            <a:lvl1pPr>
              <a:defRPr lang="en-US" dirty="0"/>
            </a:lvl1pPr>
          </a:lstStyle>
          <a:p>
            <a:pPr lvl="0"/>
            <a:r>
              <a:rPr lang="en-US"/>
              <a:t>Click to edit Master title style</a:t>
            </a:r>
          </a:p>
        </p:txBody>
      </p:sp>
      <p:sp>
        <p:nvSpPr>
          <p:cNvPr id="7" name="Picture Placeholder 2"/>
          <p:cNvSpPr>
            <a:spLocks noGrp="1"/>
          </p:cNvSpPr>
          <p:nvPr>
            <p:ph type="pic" sz="quarter" idx="14" hasCustomPrompt="1"/>
          </p:nvPr>
        </p:nvSpPr>
        <p:spPr>
          <a:xfrm>
            <a:off x="4572000" y="0"/>
            <a:ext cx="4572000"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sp>
        <p:nvSpPr>
          <p:cNvPr id="3" name="Slide Number Placeholder 2"/>
          <p:cNvSpPr>
            <a:spLocks noGrp="1"/>
          </p:cNvSpPr>
          <p:nvPr>
            <p:ph type="sldNum" sz="quarter" idx="15"/>
          </p:nvPr>
        </p:nvSpPr>
        <p:spPr/>
        <p:txBody>
          <a:bodyPr/>
          <a:lstStyle/>
          <a:p>
            <a:fld id="{5A70D442-B9FB-491C-A565-5BE8A85F6285}" type="slidenum">
              <a:rPr lang="en-US" smtClean="0"/>
              <a:pPr/>
              <a:t>‹#›</a:t>
            </a:fld>
            <a:endParaRPr lang="en-US"/>
          </a:p>
        </p:txBody>
      </p:sp>
      <p:pic>
        <p:nvPicPr>
          <p:cNvPr id="5" name="Picture 4">
            <a:extLst>
              <a:ext uri="{FF2B5EF4-FFF2-40B4-BE49-F238E27FC236}">
                <a16:creationId xmlns:a16="http://schemas.microsoft.com/office/drawing/2014/main" id="{D9334249-5A4B-0546-B37E-8B0AF0A47570}"/>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6" name="Rectangle 5">
            <a:extLst>
              <a:ext uri="{FF2B5EF4-FFF2-40B4-BE49-F238E27FC236}">
                <a16:creationId xmlns:a16="http://schemas.microsoft.com/office/drawing/2014/main" id="{E9C20657-34A2-4F43-AA67-C8AC1346F67D}"/>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Slide Number Placeholder 6">
            <a:extLst>
              <a:ext uri="{FF2B5EF4-FFF2-40B4-BE49-F238E27FC236}">
                <a16:creationId xmlns:a16="http://schemas.microsoft.com/office/drawing/2014/main" id="{6BD810FA-186B-6F47-B26B-38202C803911}"/>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498241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1"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3"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30"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6182576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70D442-B9FB-491C-A565-5BE8A85F6285}" type="slidenum">
              <a:rPr lang="en-US" smtClean="0"/>
              <a:t>‹#›</a:t>
            </a:fld>
            <a:endParaRPr lang="en-US"/>
          </a:p>
        </p:txBody>
      </p:sp>
      <p:sp>
        <p:nvSpPr>
          <p:cNvPr id="5" name="Picture Placeholder 2"/>
          <p:cNvSpPr>
            <a:spLocks noGrp="1"/>
          </p:cNvSpPr>
          <p:nvPr>
            <p:ph type="pic" sz="quarter" idx="18" hasCustomPrompt="1"/>
          </p:nvPr>
        </p:nvSpPr>
        <p:spPr>
          <a:xfrm>
            <a:off x="0" y="0"/>
            <a:ext cx="9144000" cy="4587875"/>
          </a:xfrm>
        </p:spPr>
        <p:txBody>
          <a:bodyPr vert="horz" lIns="0" tIns="0" rIns="0" bIns="0" rtlCol="0">
            <a:normAutofit/>
          </a:bodyPr>
          <a:lstStyle>
            <a:lvl1pPr marL="287331" indent="-287331">
              <a:buClr>
                <a:schemeClr val="bg1"/>
              </a:buClr>
              <a:buFont typeface="Century Gothic" panose="020B0502020202020204" pitchFamily="34" charset="0"/>
              <a:buChar char=" "/>
              <a:defRPr lang="en-US" baseline="0" dirty="0"/>
            </a:lvl1pPr>
          </a:lstStyle>
          <a:p>
            <a:pPr marL="0" lvl="0" indent="0" algn="ctr">
              <a:buNone/>
            </a:pPr>
            <a:r>
              <a:rPr lang="en-US"/>
              <a:t> </a:t>
            </a:r>
          </a:p>
        </p:txBody>
      </p:sp>
      <p:pic>
        <p:nvPicPr>
          <p:cNvPr id="7" name="Picture 6">
            <a:extLst>
              <a:ext uri="{FF2B5EF4-FFF2-40B4-BE49-F238E27FC236}">
                <a16:creationId xmlns:a16="http://schemas.microsoft.com/office/drawing/2014/main" id="{EE7DBB88-E4E1-B844-8BEA-9289135A25F7}"/>
              </a:ext>
            </a:extLst>
          </p:cNvPr>
          <p:cNvPicPr>
            <a:picLocks noChangeAspect="1"/>
          </p:cNvPicPr>
          <p:nvPr userDrawn="1"/>
        </p:nvPicPr>
        <p:blipFill rotWithShape="1">
          <a:blip r:embed="rId2"/>
          <a:srcRect l="4334" t="9546" r="3294" b="28937"/>
          <a:stretch/>
        </p:blipFill>
        <p:spPr>
          <a:xfrm>
            <a:off x="210830" y="4641274"/>
            <a:ext cx="1074253" cy="354044"/>
          </a:xfrm>
          <a:prstGeom prst="rect">
            <a:avLst/>
          </a:prstGeom>
        </p:spPr>
      </p:pic>
      <p:sp>
        <p:nvSpPr>
          <p:cNvPr id="8" name="Rectangle 7">
            <a:extLst>
              <a:ext uri="{FF2B5EF4-FFF2-40B4-BE49-F238E27FC236}">
                <a16:creationId xmlns:a16="http://schemas.microsoft.com/office/drawing/2014/main" id="{53FB9951-1191-CD46-A32C-2BE699512EC3}"/>
              </a:ext>
            </a:extLst>
          </p:cNvPr>
          <p:cNvSpPr/>
          <p:nvPr userDrawn="1"/>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Slide Number Placeholder 6">
            <a:extLst>
              <a:ext uri="{FF2B5EF4-FFF2-40B4-BE49-F238E27FC236}">
                <a16:creationId xmlns:a16="http://schemas.microsoft.com/office/drawing/2014/main" id="{2D824B13-173A-BE42-9D27-600A2B4EC4D2}"/>
              </a:ext>
            </a:extLst>
          </p:cNvPr>
          <p:cNvSpPr txBox="1">
            <a:spLocks/>
          </p:cNvSpPr>
          <p:nvPr userDrawn="1"/>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6086136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433956" y="1908688"/>
            <a:ext cx="2484432" cy="892074"/>
          </a:xfrm>
          <a:prstGeom prst="rect">
            <a:avLst/>
          </a:prstGeom>
        </p:spPr>
      </p:pic>
    </p:spTree>
    <p:extLst>
      <p:ext uri="{BB962C8B-B14F-4D97-AF65-F5344CB8AC3E}">
        <p14:creationId xmlns:p14="http://schemas.microsoft.com/office/powerpoint/2010/main" val="2607858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29" y="371476"/>
            <a:ext cx="8722343" cy="347690"/>
          </a:xfrm>
        </p:spPr>
        <p:txBody>
          <a:bodyPr wrap="square" anchor="ctr">
            <a:noAutofit/>
          </a:bodyPr>
          <a:lstStyle>
            <a:lvl1pPr algn="l">
              <a:defRPr sz="2550" b="1">
                <a:solidFill>
                  <a:srgbClr val="FF7014"/>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889758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782818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3646214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2224060"/>
            <a:ext cx="2360921" cy="347690"/>
          </a:xfrm>
        </p:spPr>
        <p:txBody>
          <a:bodyPr wrap="square" anchor="ctr">
            <a:noAutofit/>
          </a:bodyPr>
          <a:lstStyle>
            <a:lvl1pPr algn="l">
              <a:defRPr sz="3300" b="1">
                <a:solidFill>
                  <a:schemeClr val="bg1"/>
                </a:solidFill>
                <a:latin typeface="FUTURA MEDIUM" panose="020B0602020204020303" pitchFamily="34" charset="-79"/>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577482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9440809"/>
      </p:ext>
    </p:extLst>
  </p:cSld>
  <p:clrMap bg1="lt1" tx1="dk1" bg2="lt2" tx2="dk2" accent1="accent1" accent2="accent2" accent3="accent3" accent4="accent4" accent5="accent5" accent6="accent6" hlink="hlink" folHlink="folHlink"/>
  <p:sldLayoutIdLst>
    <p:sldLayoutId id="2147483857" r:id="rId1"/>
    <p:sldLayoutId id="2147483819"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58" r:id="rId11"/>
    <p:sldLayoutId id="2147483859" r:id="rId12"/>
    <p:sldLayoutId id="2147483861" r:id="rId13"/>
    <p:sldLayoutId id="2147483862" r:id="rId14"/>
    <p:sldLayoutId id="2147483863" r:id="rId15"/>
    <p:sldLayoutId id="2147483864" r:id="rId16"/>
    <p:sldLayoutId id="2147483865" r:id="rId17"/>
    <p:sldLayoutId id="2147483867" r:id="rId18"/>
    <p:sldLayoutId id="2147483868" r:id="rId19"/>
    <p:sldLayoutId id="2147483869" r:id="rId20"/>
    <p:sldLayoutId id="2147483870" r:id="rId21"/>
  </p:sldLayoutIdLst>
  <p:hf sldNum="0" hdr="0" ftr="0" dt="0"/>
  <p:txStyles>
    <p:titleStyle>
      <a:lvl1pPr algn="l" defTabSz="685800" rtl="0" eaLnBrk="1" latinLnBrk="0" hangingPunct="1">
        <a:lnSpc>
          <a:spcPct val="90000"/>
        </a:lnSpc>
        <a:spcBef>
          <a:spcPct val="0"/>
        </a:spcBef>
        <a:buNone/>
        <a:defRPr sz="2250" b="1" kern="1200">
          <a:solidFill>
            <a:schemeClr val="accent1"/>
          </a:solidFill>
          <a:latin typeface="FUTURA MEDIUM" panose="020B0602020204020303" pitchFamily="34" charset="-79"/>
          <a:ea typeface="+mj-ea"/>
          <a:cs typeface="FUTURA MEDIUM" panose="020B0602020204020303" pitchFamily="34" charset="-79"/>
        </a:defRPr>
      </a:lvl1pPr>
    </p:titleStyle>
    <p:body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2"/>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2"/>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2"/>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2"/>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2"/>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a:extLst>
              <a:ext uri="{FF2B5EF4-FFF2-40B4-BE49-F238E27FC236}">
                <a16:creationId xmlns:a16="http://schemas.microsoft.com/office/drawing/2014/main" id="{20830C9E-AFE7-45B1-83E1-E8E514523EC6}"/>
              </a:ext>
            </a:extLst>
          </p:cNvPr>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755598A-3BAC-4446-A6F4-A5830ABD4FE3}" type="datetimeFigureOut">
              <a:rPr lang="en-US" smtClean="0"/>
              <a:t>10/7/2025</a:t>
            </a:fld>
            <a:endParaRPr lang="en-US"/>
          </a:p>
        </p:txBody>
      </p:sp>
      <p:sp>
        <p:nvSpPr>
          <p:cNvPr id="10" name="Footer Placeholder 4">
            <a:extLst>
              <a:ext uri="{FF2B5EF4-FFF2-40B4-BE49-F238E27FC236}">
                <a16:creationId xmlns:a16="http://schemas.microsoft.com/office/drawing/2014/main" id="{B7020B63-B17B-43D7-98B8-4742A7CA2ADF}"/>
              </a:ext>
            </a:extLst>
          </p:cNvPr>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1300214905"/>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8" r:id="rId15"/>
    <p:sldLayoutId id="2147483907" r:id="rId16"/>
    <p:sldLayoutId id="2147483908" r:id="rId17"/>
    <p:sldLayoutId id="2147483909" r:id="rId18"/>
    <p:sldLayoutId id="2147483910" r:id="rId1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1pPr>
      <a:lvl2pPr marL="260747" indent="-260747"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500" kern="1200">
          <a:solidFill>
            <a:schemeClr val="tx1"/>
          </a:solidFill>
          <a:latin typeface="+mn-lt"/>
          <a:ea typeface="+mn-ea"/>
          <a:cs typeface="+mn-cs"/>
        </a:defRPr>
      </a:lvl3pPr>
      <a:lvl4pPr marL="685800" indent="-173831" algn="l" defTabSz="685800" rtl="0" eaLnBrk="1" latinLnBrk="0" hangingPunct="1">
        <a:lnSpc>
          <a:spcPct val="90000"/>
        </a:lnSpc>
        <a:spcBef>
          <a:spcPts val="375"/>
        </a:spcBef>
        <a:buFont typeface="Courier New" panose="02070309020205020404" pitchFamily="49" charset="0"/>
        <a:buChar char="o"/>
        <a:defRPr sz="1350" kern="1200">
          <a:solidFill>
            <a:schemeClr val="tx1"/>
          </a:solidFill>
          <a:latin typeface="+mn-lt"/>
          <a:ea typeface="+mn-ea"/>
          <a:cs typeface="+mn-cs"/>
        </a:defRPr>
      </a:lvl4pPr>
      <a:lvl5pPr marL="859631" indent="-173831" algn="l" defTabSz="685800" rtl="0" eaLnBrk="1" latinLnBrk="0" hangingPunct="1">
        <a:lnSpc>
          <a:spcPct val="90000"/>
        </a:lnSpc>
        <a:spcBef>
          <a:spcPts val="375"/>
        </a:spcBef>
        <a:buFont typeface="Wingdings" panose="05000000000000000000" pitchFamily="2" charset="2"/>
        <a:buChar char="v"/>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1F86B-91EF-95C6-F93C-9E25C772669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CBE7AF-3F0D-3EAB-0B12-F97AB602573D}"/>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2739E-DD97-7703-B43E-2A5173BB2C69}"/>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4566B8E7-8753-4F66-B8DD-DFE0231D244C}" type="datetimeFigureOut">
              <a:rPr lang="en-US" smtClean="0"/>
              <a:t>10/7/2025</a:t>
            </a:fld>
            <a:endParaRPr lang="en-US"/>
          </a:p>
        </p:txBody>
      </p:sp>
      <p:sp>
        <p:nvSpPr>
          <p:cNvPr id="5" name="Footer Placeholder 4">
            <a:extLst>
              <a:ext uri="{FF2B5EF4-FFF2-40B4-BE49-F238E27FC236}">
                <a16:creationId xmlns:a16="http://schemas.microsoft.com/office/drawing/2014/main" id="{EFE39ADA-57A7-D193-D45B-13846EDD20A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0702E34-FF8F-1962-4180-3D08EBDAA1A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B6726ECB-DFD4-49BD-9E6D-292A4238BAD0}" type="slidenum">
              <a:rPr lang="en-US" smtClean="0"/>
              <a:t>‹#›</a:t>
            </a:fld>
            <a:endParaRPr lang="en-US"/>
          </a:p>
        </p:txBody>
      </p:sp>
    </p:spTree>
    <p:extLst>
      <p:ext uri="{BB962C8B-B14F-4D97-AF65-F5344CB8AC3E}">
        <p14:creationId xmlns:p14="http://schemas.microsoft.com/office/powerpoint/2010/main" val="684321259"/>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3" Type="http://schemas.openxmlformats.org/officeDocument/2006/relationships/hyperlink" Target="mailto:devi.darshanaa@revature.com" TargetMode="External"/><Relationship Id="rId2" Type="http://schemas.openxmlformats.org/officeDocument/2006/relationships/hyperlink" Target="mailto:gabriels@revature.com"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png"/><Relationship Id="rId3" Type="http://schemas.openxmlformats.org/officeDocument/2006/relationships/image" Target="../media/image24.svg"/><Relationship Id="rId21" Type="http://schemas.openxmlformats.org/officeDocument/2006/relationships/image" Target="../media/image42.sv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3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5" Type="http://schemas.openxmlformats.org/officeDocument/2006/relationships/image" Target="../media/image36.svg"/><Relationship Id="rId10" Type="http://schemas.openxmlformats.org/officeDocument/2006/relationships/image" Target="../media/image31.png"/><Relationship Id="rId19" Type="http://schemas.openxmlformats.org/officeDocument/2006/relationships/image" Target="../media/image40.svg"/><Relationship Id="rId4" Type="http://schemas.openxmlformats.org/officeDocument/2006/relationships/image" Target="../media/image25.png"/><Relationship Id="rId9" Type="http://schemas.openxmlformats.org/officeDocument/2006/relationships/image" Target="../media/image30.svg"/><Relationship Id="rId14"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image" Target="../media/image43.jpeg"/><Relationship Id="rId1" Type="http://schemas.openxmlformats.org/officeDocument/2006/relationships/slideLayout" Target="../slideLayouts/slideLayout38.xml"/><Relationship Id="rId6" Type="http://schemas.openxmlformats.org/officeDocument/2006/relationships/image" Target="../media/image47.sv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 Id="rId14" Type="http://schemas.openxmlformats.org/officeDocument/2006/relationships/image" Target="../media/image55.svg"/></Relationships>
</file>

<file path=ppt/slides/_rels/slide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37.xml"/><Relationship Id="rId4" Type="http://schemas.openxmlformats.org/officeDocument/2006/relationships/image" Target="../media/image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AC2B0-337D-4F45-8BDE-27AAC1BA57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0AC2B0-337D-4F45-8BDE-27AAC1BA577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4F498731-379C-459E-BC62-9F9F31F58C1B}"/>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US" sz="4050">
              <a:solidFill>
                <a:prstClr val="white"/>
              </a:solidFill>
              <a:latin typeface="Abadi" panose="020B0604020104020204" pitchFamily="34" charset="0"/>
              <a:sym typeface="Abadi" panose="020B0604020104020204" pitchFamily="34" charset="0"/>
            </a:endParaRPr>
          </a:p>
        </p:txBody>
      </p:sp>
      <p:sp>
        <p:nvSpPr>
          <p:cNvPr id="22" name="Title 21">
            <a:extLst>
              <a:ext uri="{FF2B5EF4-FFF2-40B4-BE49-F238E27FC236}">
                <a16:creationId xmlns:a16="http://schemas.microsoft.com/office/drawing/2014/main" id="{7A36C91E-967E-4AB2-9D86-AFE978D63313}"/>
              </a:ext>
            </a:extLst>
          </p:cNvPr>
          <p:cNvSpPr>
            <a:spLocks noGrp="1"/>
          </p:cNvSpPr>
          <p:nvPr>
            <p:ph type="title"/>
          </p:nvPr>
        </p:nvSpPr>
        <p:spPr>
          <a:xfrm>
            <a:off x="400050" y="2461287"/>
            <a:ext cx="6697796" cy="1066446"/>
          </a:xfrm>
        </p:spPr>
        <p:txBody>
          <a:bodyPr wrap="square">
            <a:spAutoFit/>
          </a:bodyPr>
          <a:lstStyle/>
          <a:p>
            <a:pPr>
              <a:lnSpc>
                <a:spcPct val="90000"/>
              </a:lnSpc>
              <a:buClr>
                <a:srgbClr val="E7FF45"/>
              </a:buClr>
              <a:buSzPts val="6200"/>
            </a:pPr>
            <a:r>
              <a:rPr lang="en-US">
                <a:solidFill>
                  <a:schemeClr val="accent1"/>
                </a:solidFill>
                <a:latin typeface="Futura PT Heavy"/>
                <a:sym typeface="Rubik Light"/>
              </a:rPr>
              <a:t>Revature</a:t>
            </a:r>
            <a:r>
              <a:rPr lang="en-US">
                <a:latin typeface="Futura PT Heavy"/>
                <a:sym typeface="Rubik Light"/>
              </a:rPr>
              <a:t> </a:t>
            </a:r>
            <a:br>
              <a:rPr lang="en-US"/>
            </a:br>
            <a:r>
              <a:rPr lang="en-US" sz="3200">
                <a:latin typeface="Futura PT Heavy"/>
                <a:sym typeface="Rubik Light"/>
              </a:rPr>
              <a:t>Meet &amp; Greet</a:t>
            </a:r>
            <a:endParaRPr lang="en-US">
              <a:latin typeface="Futura PT Heavy"/>
            </a:endParaRPr>
          </a:p>
        </p:txBody>
      </p:sp>
      <p:sp>
        <p:nvSpPr>
          <p:cNvPr id="2" name="Subtitle 1">
            <a:extLst>
              <a:ext uri="{FF2B5EF4-FFF2-40B4-BE49-F238E27FC236}">
                <a16:creationId xmlns:a16="http://schemas.microsoft.com/office/drawing/2014/main" id="{07122748-1A0A-47C4-A797-15AF8D0D88F4}"/>
              </a:ext>
            </a:extLst>
          </p:cNvPr>
          <p:cNvSpPr>
            <a:spLocks noGrp="1"/>
          </p:cNvSpPr>
          <p:nvPr>
            <p:ph type="body" sz="quarter" idx="11"/>
          </p:nvPr>
        </p:nvSpPr>
        <p:spPr>
          <a:xfrm>
            <a:off x="400049" y="3753695"/>
            <a:ext cx="6696075" cy="323165"/>
          </a:xfrm>
        </p:spPr>
        <p:txBody>
          <a:bodyPr>
            <a:normAutofit/>
          </a:bodyPr>
          <a:lstStyle/>
          <a:p>
            <a:r>
              <a:rPr lang="en-US"/>
              <a:t>Advancing Talent and Technology</a:t>
            </a:r>
          </a:p>
        </p:txBody>
      </p:sp>
      <p:sp>
        <p:nvSpPr>
          <p:cNvPr id="29" name="Text Placeholder 28">
            <a:extLst>
              <a:ext uri="{FF2B5EF4-FFF2-40B4-BE49-F238E27FC236}">
                <a16:creationId xmlns:a16="http://schemas.microsoft.com/office/drawing/2014/main" id="{10B3C2ED-4309-4D0B-8AAE-53AB444D7AE1}"/>
              </a:ext>
            </a:extLst>
          </p:cNvPr>
          <p:cNvSpPr>
            <a:spLocks noGrp="1"/>
          </p:cNvSpPr>
          <p:nvPr>
            <p:ph type="body" sz="quarter" idx="10"/>
          </p:nvPr>
        </p:nvSpPr>
        <p:spPr>
          <a:xfrm>
            <a:off x="400050" y="4159575"/>
            <a:ext cx="6696075" cy="230833"/>
          </a:xfrm>
        </p:spPr>
        <p:txBody>
          <a:bodyPr>
            <a:noAutofit/>
          </a:bodyPr>
          <a:lstStyle/>
          <a:p>
            <a:pPr>
              <a:spcAft>
                <a:spcPts val="450"/>
              </a:spcAft>
              <a:defRPr/>
            </a:pPr>
            <a:r>
              <a:rPr lang="en-US" sz="1350">
                <a:latin typeface="Futura PT Bold"/>
              </a:rPr>
              <a:t>“</a:t>
            </a:r>
            <a:r>
              <a:rPr lang="en-US" sz="1350" i="1">
                <a:latin typeface="Futura PT Bold"/>
              </a:rPr>
              <a:t>The most reliable way to predict the future is to create it</a:t>
            </a:r>
            <a:r>
              <a:rPr lang="en-US" sz="1350">
                <a:latin typeface="Futura PT Bold"/>
              </a:rPr>
              <a:t>”         		</a:t>
            </a:r>
            <a:br>
              <a:rPr lang="en-US" sz="1350">
                <a:latin typeface="Futura PT Bold"/>
              </a:rPr>
            </a:br>
            <a:r>
              <a:rPr lang="en-US" sz="1350">
                <a:solidFill>
                  <a:schemeClr val="accent1"/>
                </a:solidFill>
                <a:latin typeface="Futura PT Bold"/>
              </a:rPr>
              <a:t>– </a:t>
            </a:r>
            <a:r>
              <a:rPr lang="en-US" sz="1350">
                <a:solidFill>
                  <a:schemeClr val="accent1"/>
                </a:solidFill>
                <a:latin typeface="Futura PT Bold" panose="020B0902020204020203" pitchFamily="34" charset="0"/>
              </a:rPr>
              <a:t>Abraham Lincoln</a:t>
            </a:r>
          </a:p>
        </p:txBody>
      </p:sp>
      <p:pic>
        <p:nvPicPr>
          <p:cNvPr id="20" name="Picture 19">
            <a:extLst>
              <a:ext uri="{FF2B5EF4-FFF2-40B4-BE49-F238E27FC236}">
                <a16:creationId xmlns:a16="http://schemas.microsoft.com/office/drawing/2014/main" id="{353FAE47-6235-4DF6-A2F0-9716814DA637}"/>
              </a:ext>
            </a:extLst>
          </p:cNvPr>
          <p:cNvPicPr>
            <a:picLocks noChangeAspect="1"/>
          </p:cNvPicPr>
          <p:nvPr/>
        </p:nvPicPr>
        <p:blipFill rotWithShape="1">
          <a:blip r:embed="rId6"/>
          <a:srcRect t="70491"/>
          <a:stretch/>
        </p:blipFill>
        <p:spPr>
          <a:xfrm>
            <a:off x="7409242" y="2781255"/>
            <a:ext cx="1687711" cy="246460"/>
          </a:xfrm>
          <a:prstGeom prst="rect">
            <a:avLst/>
          </a:prstGeom>
        </p:spPr>
      </p:pic>
    </p:spTree>
    <p:extLst>
      <p:ext uri="{BB962C8B-B14F-4D97-AF65-F5344CB8AC3E}">
        <p14:creationId xmlns:p14="http://schemas.microsoft.com/office/powerpoint/2010/main" val="28530682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5772BBBF-2B1A-ED06-D59B-218B1B4780DE}"/>
              </a:ext>
            </a:extLst>
          </p:cNvPr>
          <p:cNvGraphicFramePr>
            <a:graphicFrameLocks noGrp="1"/>
          </p:cNvGraphicFramePr>
          <p:nvPr>
            <p:extLst>
              <p:ext uri="{D42A27DB-BD31-4B8C-83A1-F6EECF244321}">
                <p14:modId xmlns:p14="http://schemas.microsoft.com/office/powerpoint/2010/main" val="4223355063"/>
              </p:ext>
            </p:extLst>
          </p:nvPr>
        </p:nvGraphicFramePr>
        <p:xfrm>
          <a:off x="2981605" y="3890980"/>
          <a:ext cx="3180790" cy="669186"/>
        </p:xfrm>
        <a:graphic>
          <a:graphicData uri="http://schemas.openxmlformats.org/drawingml/2006/table">
            <a:tbl>
              <a:tblPr>
                <a:tableStyleId>{D7AC3CCA-C797-4891-BE02-D94E43425B78}</a:tableStyleId>
              </a:tblPr>
              <a:tblGrid>
                <a:gridCol w="1590395">
                  <a:extLst>
                    <a:ext uri="{9D8B030D-6E8A-4147-A177-3AD203B41FA5}">
                      <a16:colId xmlns:a16="http://schemas.microsoft.com/office/drawing/2014/main" val="1676785336"/>
                    </a:ext>
                  </a:extLst>
                </a:gridCol>
                <a:gridCol w="1590395">
                  <a:extLst>
                    <a:ext uri="{9D8B030D-6E8A-4147-A177-3AD203B41FA5}">
                      <a16:colId xmlns:a16="http://schemas.microsoft.com/office/drawing/2014/main" val="612934560"/>
                    </a:ext>
                  </a:extLst>
                </a:gridCol>
              </a:tblGrid>
              <a:tr h="334593">
                <a:tc>
                  <a:txBody>
                    <a:bodyPr/>
                    <a:lstStyle/>
                    <a:p>
                      <a:pPr marL="91440" lvl="0" algn="l" fontAlgn="ctr"/>
                      <a:r>
                        <a:rPr lang="en-US" sz="800" b="1" u="none" strike="noStrike">
                          <a:solidFill>
                            <a:srgbClr val="000000"/>
                          </a:solidFill>
                          <a:effectLst/>
                        </a:rPr>
                        <a:t>Delivery Meeting</a:t>
                      </a:r>
                      <a:endParaRPr lang="en-US" sz="800" b="1" i="0" u="none" strike="noStrike">
                        <a:solidFill>
                          <a:srgbClr val="000000"/>
                        </a:solidFill>
                        <a:effectLst/>
                        <a:latin typeface="Segoe UI" panose="020B0502040204020203" pitchFamily="34"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u="none" strike="noStrike">
                          <a:solidFill>
                            <a:srgbClr val="000000"/>
                          </a:solidFill>
                          <a:effectLst/>
                        </a:rPr>
                        <a:t>7</a:t>
                      </a:r>
                      <a:r>
                        <a:rPr lang="en-US" sz="800" b="0" u="none" strike="noStrike" baseline="30000">
                          <a:solidFill>
                            <a:srgbClr val="000000"/>
                          </a:solidFill>
                          <a:effectLst/>
                        </a:rPr>
                        <a:t>th</a:t>
                      </a:r>
                      <a:r>
                        <a:rPr lang="en-US" sz="800" b="0" u="none" strike="noStrike">
                          <a:solidFill>
                            <a:srgbClr val="000000"/>
                          </a:solidFill>
                          <a:effectLst/>
                        </a:rPr>
                        <a:t> Oct 2025</a:t>
                      </a:r>
                      <a:endParaRPr lang="en-US" sz="800" b="0" i="0" u="none" strike="noStrike">
                        <a:solidFill>
                          <a:srgbClr val="000000"/>
                        </a:solidFill>
                        <a:effectLst/>
                        <a:latin typeface="Segoe UI"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0510466"/>
                  </a:ext>
                </a:extLst>
              </a:tr>
              <a:tr h="334593">
                <a:tc>
                  <a:txBody>
                    <a:bodyPr/>
                    <a:lstStyle/>
                    <a:p>
                      <a:pPr marL="91440" lvl="0" algn="l" fontAlgn="ctr"/>
                      <a:r>
                        <a:rPr lang="en-US" sz="800" b="1" u="none" strike="noStrike">
                          <a:solidFill>
                            <a:srgbClr val="000000"/>
                          </a:solidFill>
                          <a:effectLst/>
                        </a:rPr>
                        <a:t>Meet &amp; Greet (w/ Client)</a:t>
                      </a:r>
                      <a:endParaRPr lang="en-US" sz="800" b="1" i="0" u="none" strike="noStrike">
                        <a:solidFill>
                          <a:srgbClr val="000000"/>
                        </a:solidFill>
                        <a:effectLst/>
                        <a:latin typeface="Segoe UI" panose="020B0502040204020203" pitchFamily="34"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ctr"/>
                      <a:r>
                        <a:rPr lang="en-US" sz="800" b="0" u="none" strike="noStrike">
                          <a:solidFill>
                            <a:srgbClr val="000000"/>
                          </a:solidFill>
                          <a:effectLst/>
                        </a:rPr>
                        <a:t>9</a:t>
                      </a:r>
                      <a:r>
                        <a:rPr lang="en-US" sz="800" b="0" u="none" strike="noStrike" baseline="30000">
                          <a:solidFill>
                            <a:srgbClr val="000000"/>
                          </a:solidFill>
                          <a:effectLst/>
                        </a:rPr>
                        <a:t>th</a:t>
                      </a:r>
                      <a:r>
                        <a:rPr lang="en-US" sz="800" b="0" u="none" strike="noStrike">
                          <a:solidFill>
                            <a:srgbClr val="000000"/>
                          </a:solidFill>
                          <a:effectLst/>
                        </a:rPr>
                        <a:t> Oct 2025</a:t>
                      </a:r>
                      <a:endParaRPr lang="en-US" sz="800" b="0" i="0" u="none" strike="noStrike">
                        <a:solidFill>
                          <a:srgbClr val="000000"/>
                        </a:solidFill>
                        <a:effectLst/>
                        <a:latin typeface="Segoe UI"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14962618"/>
                  </a:ext>
                </a:extLst>
              </a:tr>
            </a:tbl>
          </a:graphicData>
        </a:graphic>
      </p:graphicFrame>
      <p:sp>
        <p:nvSpPr>
          <p:cNvPr id="2" name="Title 1">
            <a:extLst>
              <a:ext uri="{FF2B5EF4-FFF2-40B4-BE49-F238E27FC236}">
                <a16:creationId xmlns:a16="http://schemas.microsoft.com/office/drawing/2014/main" id="{946C49F4-FAB2-0749-3435-1E6F46046ACB}"/>
              </a:ext>
            </a:extLst>
          </p:cNvPr>
          <p:cNvSpPr>
            <a:spLocks noGrp="1"/>
          </p:cNvSpPr>
          <p:nvPr>
            <p:ph type="title"/>
          </p:nvPr>
        </p:nvSpPr>
        <p:spPr>
          <a:xfrm>
            <a:off x="214582" y="352014"/>
            <a:ext cx="7949476" cy="737645"/>
          </a:xfrm>
        </p:spPr>
        <p:txBody>
          <a:bodyPr/>
          <a:lstStyle/>
          <a:p>
            <a:r>
              <a:rPr lang="en-US" sz="2800">
                <a:solidFill>
                  <a:srgbClr val="22378A"/>
                </a:solidFill>
              </a:rPr>
              <a:t>Key Timelines</a:t>
            </a:r>
            <a:br>
              <a:rPr lang="en-US" sz="2800">
                <a:solidFill>
                  <a:srgbClr val="22378A"/>
                </a:solidFill>
              </a:rPr>
            </a:br>
            <a:r>
              <a:rPr lang="en-US" sz="2800">
                <a:solidFill>
                  <a:srgbClr val="22378A"/>
                </a:solidFill>
              </a:rPr>
              <a:t>(Training to Onboarding)</a:t>
            </a:r>
            <a:endParaRPr lang="en-US"/>
          </a:p>
        </p:txBody>
      </p:sp>
      <p:graphicFrame>
        <p:nvGraphicFramePr>
          <p:cNvPr id="4" name="Table 3">
            <a:extLst>
              <a:ext uri="{FF2B5EF4-FFF2-40B4-BE49-F238E27FC236}">
                <a16:creationId xmlns:a16="http://schemas.microsoft.com/office/drawing/2014/main" id="{0B4C3304-5916-7C4E-5C75-55B271A0D716}"/>
              </a:ext>
            </a:extLst>
          </p:cNvPr>
          <p:cNvGraphicFramePr>
            <a:graphicFrameLocks noGrp="1"/>
          </p:cNvGraphicFramePr>
          <p:nvPr>
            <p:extLst>
              <p:ext uri="{D42A27DB-BD31-4B8C-83A1-F6EECF244321}">
                <p14:modId xmlns:p14="http://schemas.microsoft.com/office/powerpoint/2010/main" val="2541951529"/>
              </p:ext>
            </p:extLst>
          </p:nvPr>
        </p:nvGraphicFramePr>
        <p:xfrm>
          <a:off x="597263" y="1485185"/>
          <a:ext cx="7949474" cy="2093690"/>
        </p:xfrm>
        <a:graphic>
          <a:graphicData uri="http://schemas.openxmlformats.org/drawingml/2006/table">
            <a:tbl>
              <a:tblPr/>
              <a:tblGrid>
                <a:gridCol w="1157575">
                  <a:extLst>
                    <a:ext uri="{9D8B030D-6E8A-4147-A177-3AD203B41FA5}">
                      <a16:colId xmlns:a16="http://schemas.microsoft.com/office/drawing/2014/main" val="3893518286"/>
                    </a:ext>
                  </a:extLst>
                </a:gridCol>
                <a:gridCol w="1257978">
                  <a:extLst>
                    <a:ext uri="{9D8B030D-6E8A-4147-A177-3AD203B41FA5}">
                      <a16:colId xmlns:a16="http://schemas.microsoft.com/office/drawing/2014/main" val="4096410450"/>
                    </a:ext>
                  </a:extLst>
                </a:gridCol>
                <a:gridCol w="1063080">
                  <a:extLst>
                    <a:ext uri="{9D8B030D-6E8A-4147-A177-3AD203B41FA5}">
                      <a16:colId xmlns:a16="http://schemas.microsoft.com/office/drawing/2014/main" val="633227748"/>
                    </a:ext>
                  </a:extLst>
                </a:gridCol>
                <a:gridCol w="1039456">
                  <a:extLst>
                    <a:ext uri="{9D8B030D-6E8A-4147-A177-3AD203B41FA5}">
                      <a16:colId xmlns:a16="http://schemas.microsoft.com/office/drawing/2014/main" val="3348153467"/>
                    </a:ext>
                  </a:extLst>
                </a:gridCol>
                <a:gridCol w="1541466">
                  <a:extLst>
                    <a:ext uri="{9D8B030D-6E8A-4147-A177-3AD203B41FA5}">
                      <a16:colId xmlns:a16="http://schemas.microsoft.com/office/drawing/2014/main" val="2877722172"/>
                    </a:ext>
                  </a:extLst>
                </a:gridCol>
                <a:gridCol w="1889919">
                  <a:extLst>
                    <a:ext uri="{9D8B030D-6E8A-4147-A177-3AD203B41FA5}">
                      <a16:colId xmlns:a16="http://schemas.microsoft.com/office/drawing/2014/main" val="1250627893"/>
                    </a:ext>
                  </a:extLst>
                </a:gridCol>
              </a:tblGrid>
              <a:tr h="465265">
                <a:tc>
                  <a:txBody>
                    <a:bodyPr/>
                    <a:lstStyle/>
                    <a:p>
                      <a:pPr algn="ctr" rtl="0" fontAlgn="ctr">
                        <a:buNone/>
                      </a:pPr>
                      <a:r>
                        <a:rPr lang="en-US" sz="800" b="1" i="0" u="none" strike="noStrike">
                          <a:solidFill>
                            <a:srgbClr val="000000"/>
                          </a:solidFill>
                          <a:effectLst/>
                          <a:latin typeface="Futura PT Light"/>
                        </a:rPr>
                        <a:t>Training I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tc>
                  <a:txBody>
                    <a:bodyPr/>
                    <a:lstStyle/>
                    <a:p>
                      <a:pPr algn="ctr" rtl="0" fontAlgn="ctr">
                        <a:buNone/>
                      </a:pPr>
                      <a:r>
                        <a:rPr lang="en-US" sz="800" b="1" i="0" u="none" strike="noStrike">
                          <a:solidFill>
                            <a:srgbClr val="000000"/>
                          </a:solidFill>
                          <a:effectLst/>
                          <a:latin typeface="Futura PT Light"/>
                        </a:rPr>
                        <a:t>Technology</a:t>
                      </a:r>
                      <a:br>
                        <a:rPr lang="en-US" sz="800" b="1" i="0" u="none" strike="noStrike">
                          <a:solidFill>
                            <a:srgbClr val="000000"/>
                          </a:solidFill>
                          <a:effectLst/>
                          <a:latin typeface="Futura PT Light"/>
                        </a:rPr>
                      </a:br>
                      <a:r>
                        <a:rPr lang="en-US" sz="800" b="1" i="0" u="none" strike="noStrike">
                          <a:solidFill>
                            <a:srgbClr val="000000"/>
                          </a:solidFill>
                          <a:effectLst/>
                          <a:latin typeface="Futura PT Light"/>
                        </a:rPr>
                        <a:t>In Demand</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tc>
                  <a:txBody>
                    <a:bodyPr/>
                    <a:lstStyle/>
                    <a:p>
                      <a:pPr algn="ctr" rtl="0" fontAlgn="ctr">
                        <a:buNone/>
                      </a:pPr>
                      <a:r>
                        <a:rPr lang="en-US" sz="800" b="1" i="0" u="none" strike="noStrike">
                          <a:solidFill>
                            <a:srgbClr val="000000"/>
                          </a:solidFill>
                          <a:effectLst/>
                          <a:latin typeface="Futura PT Light"/>
                        </a:rPr>
                        <a:t>Training</a:t>
                      </a:r>
                      <a:br>
                        <a:rPr lang="en-US" sz="800" b="1" i="0" u="none" strike="noStrike">
                          <a:solidFill>
                            <a:srgbClr val="000000"/>
                          </a:solidFill>
                          <a:effectLst/>
                          <a:latin typeface="Futura PT Light"/>
                        </a:rPr>
                      </a:br>
                      <a:r>
                        <a:rPr lang="en-US" sz="800" b="1" i="0" u="none" strike="noStrike">
                          <a:solidFill>
                            <a:srgbClr val="000000"/>
                          </a:solidFill>
                          <a:effectLst/>
                          <a:latin typeface="Futura PT Light"/>
                        </a:rPr>
                        <a:t>Start Dat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tc>
                  <a:txBody>
                    <a:bodyPr/>
                    <a:lstStyle/>
                    <a:p>
                      <a:pPr algn="ctr" rtl="0" fontAlgn="ctr">
                        <a:buNone/>
                      </a:pPr>
                      <a:r>
                        <a:rPr lang="en-US" sz="800" b="1" i="0" u="none" strike="noStrike">
                          <a:solidFill>
                            <a:srgbClr val="000000"/>
                          </a:solidFill>
                          <a:effectLst/>
                          <a:latin typeface="Futura PT Light"/>
                        </a:rPr>
                        <a:t>Training</a:t>
                      </a:r>
                      <a:br>
                        <a:rPr lang="en-US" sz="800" b="1" i="0" u="none" strike="noStrike">
                          <a:solidFill>
                            <a:srgbClr val="000000"/>
                          </a:solidFill>
                          <a:effectLst/>
                          <a:latin typeface="Futura PT Light"/>
                        </a:rPr>
                      </a:br>
                      <a:r>
                        <a:rPr lang="en-US" sz="800" b="1" i="0" u="none" strike="noStrike">
                          <a:solidFill>
                            <a:srgbClr val="000000"/>
                          </a:solidFill>
                          <a:effectLst/>
                          <a:latin typeface="Futura PT Light"/>
                        </a:rPr>
                        <a:t>End Dat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tc>
                  <a:txBody>
                    <a:bodyPr/>
                    <a:lstStyle/>
                    <a:p>
                      <a:pPr algn="ctr" rtl="0" fontAlgn="ctr">
                        <a:buNone/>
                      </a:pPr>
                      <a:r>
                        <a:rPr lang="en-US" sz="800" b="1" i="0" u="none" strike="noStrike">
                          <a:solidFill>
                            <a:srgbClr val="000000"/>
                          </a:solidFill>
                          <a:effectLst/>
                          <a:latin typeface="Futura PT Light"/>
                        </a:rPr>
                        <a:t>Final Interview</a:t>
                      </a:r>
                      <a:br>
                        <a:rPr lang="en-US" sz="800" b="1" i="0" u="none" strike="noStrike">
                          <a:solidFill>
                            <a:srgbClr val="000000"/>
                          </a:solidFill>
                          <a:effectLst/>
                          <a:latin typeface="Futura PT Light"/>
                        </a:rPr>
                      </a:br>
                      <a:r>
                        <a:rPr lang="en-US" sz="800" b="1" i="0" u="none" strike="noStrike">
                          <a:solidFill>
                            <a:srgbClr val="000000"/>
                          </a:solidFill>
                          <a:effectLst/>
                          <a:latin typeface="Futura PT Light"/>
                        </a:rPr>
                        <a:t>Start Dat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tc>
                  <a:txBody>
                    <a:bodyPr/>
                    <a:lstStyle/>
                    <a:p>
                      <a:pPr algn="ctr" rtl="0" fontAlgn="ctr">
                        <a:buNone/>
                      </a:pPr>
                      <a:r>
                        <a:rPr lang="en-US" sz="800" b="1" i="0" u="none" strike="noStrike">
                          <a:solidFill>
                            <a:srgbClr val="000000"/>
                          </a:solidFill>
                          <a:effectLst/>
                          <a:latin typeface="Futura PT Light"/>
                        </a:rPr>
                        <a:t>Tentative</a:t>
                      </a:r>
                      <a:br>
                        <a:rPr lang="en-US" sz="800" b="1" i="0" u="none" strike="noStrike">
                          <a:solidFill>
                            <a:srgbClr val="000000"/>
                          </a:solidFill>
                          <a:effectLst/>
                          <a:latin typeface="Futura PT Light"/>
                        </a:rPr>
                      </a:br>
                      <a:r>
                        <a:rPr lang="en-US" sz="800" b="1" i="0" u="none" strike="noStrike">
                          <a:solidFill>
                            <a:srgbClr val="000000"/>
                          </a:solidFill>
                          <a:effectLst/>
                          <a:latin typeface="Futura PT Light"/>
                        </a:rPr>
                        <a:t>Onboarding Dat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BE8"/>
                    </a:solidFill>
                  </a:tcPr>
                </a:tc>
                <a:extLst>
                  <a:ext uri="{0D108BD9-81ED-4DB2-BD59-A6C34878D82A}">
                    <a16:rowId xmlns:a16="http://schemas.microsoft.com/office/drawing/2014/main" val="2226931040"/>
                  </a:ext>
                </a:extLst>
              </a:tr>
              <a:tr h="325685">
                <a:tc>
                  <a:txBody>
                    <a:bodyPr/>
                    <a:lstStyle/>
                    <a:p>
                      <a:pPr algn="ctr" rtl="0" fontAlgn="ctr">
                        <a:buNone/>
                      </a:pPr>
                      <a:r>
                        <a:rPr lang="en-US" sz="800" b="0" i="0" u="none" strike="noStrike">
                          <a:solidFill>
                            <a:srgbClr val="000000"/>
                          </a:solidFill>
                          <a:effectLst/>
                          <a:latin typeface="Futura PT Light"/>
                        </a:rPr>
                        <a:t>229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Jav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5-Sep-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0-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3-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6-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355445940"/>
                  </a:ext>
                </a:extLst>
              </a:tr>
              <a:tr h="325685">
                <a:tc>
                  <a:txBody>
                    <a:bodyPr/>
                    <a:lstStyle/>
                    <a:p>
                      <a:pPr algn="ctr" rtl="0" fontAlgn="ctr">
                        <a:buNone/>
                      </a:pPr>
                      <a:r>
                        <a:rPr lang="en-US" sz="800" b="0" i="0" u="none" strike="noStrike">
                          <a:solidFill>
                            <a:srgbClr val="000000"/>
                          </a:solidFill>
                          <a:effectLst/>
                          <a:latin typeface="Futura PT Light"/>
                        </a:rPr>
                        <a:t>229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N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5-Sep-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24-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27-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20-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107760450"/>
                  </a:ext>
                </a:extLst>
              </a:tr>
              <a:tr h="325685">
                <a:tc>
                  <a:txBody>
                    <a:bodyPr/>
                    <a:lstStyle/>
                    <a:p>
                      <a:pPr algn="ctr" rtl="0" fontAlgn="ctr">
                        <a:buNone/>
                      </a:pPr>
                      <a:r>
                        <a:rPr lang="en-US" sz="800" b="0" i="0" u="none" strike="noStrike">
                          <a:solidFill>
                            <a:srgbClr val="000000"/>
                          </a:solidFill>
                          <a:effectLst/>
                          <a:latin typeface="Futura PT Light"/>
                        </a:rPr>
                        <a:t>229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Big Dat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5-Sep-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7-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1-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4-Dec-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823067270"/>
                  </a:ext>
                </a:extLst>
              </a:tr>
              <a:tr h="325685">
                <a:tc>
                  <a:txBody>
                    <a:bodyPr/>
                    <a:lstStyle/>
                    <a:p>
                      <a:pPr algn="ctr" rtl="0" fontAlgn="ctr">
                        <a:buNone/>
                      </a:pPr>
                      <a:r>
                        <a:rPr lang="en-US" sz="800" b="0" i="0" u="none" strike="noStrike">
                          <a:solidFill>
                            <a:srgbClr val="000000"/>
                          </a:solidFill>
                          <a:effectLst/>
                          <a:latin typeface="Futura PT Light"/>
                        </a:rPr>
                        <a:t>230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Jav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6-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7-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0-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1-Dec-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358411421"/>
                  </a:ext>
                </a:extLst>
              </a:tr>
              <a:tr h="325685">
                <a:tc>
                  <a:txBody>
                    <a:bodyPr/>
                    <a:lstStyle/>
                    <a:p>
                      <a:pPr algn="ctr" rtl="0" fontAlgn="ctr">
                        <a:buNone/>
                      </a:pPr>
                      <a:r>
                        <a:rPr lang="en-US" sz="800" b="0" i="0" u="none" strike="noStrike">
                          <a:solidFill>
                            <a:srgbClr val="000000"/>
                          </a:solidFill>
                          <a:effectLst/>
                          <a:latin typeface="Futura PT Light"/>
                        </a:rPr>
                        <a:t>23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B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6-Oct-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4-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7-Nov-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rtl="0" fontAlgn="ctr">
                        <a:buNone/>
                      </a:pPr>
                      <a:r>
                        <a:rPr lang="en-US" sz="800" b="0" i="0" u="none" strike="noStrike">
                          <a:solidFill>
                            <a:srgbClr val="000000"/>
                          </a:solidFill>
                          <a:effectLst/>
                          <a:latin typeface="Futura PT Light"/>
                        </a:rPr>
                        <a:t>11-Dec-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14310649"/>
                  </a:ext>
                </a:extLst>
              </a:tr>
            </a:tbl>
          </a:graphicData>
        </a:graphic>
      </p:graphicFrame>
    </p:spTree>
    <p:extLst>
      <p:ext uri="{BB962C8B-B14F-4D97-AF65-F5344CB8AC3E}">
        <p14:creationId xmlns:p14="http://schemas.microsoft.com/office/powerpoint/2010/main" val="289875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7014"/>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ED5DB-A2B1-394D-F941-1D4C4B62C8CF}"/>
              </a:ext>
            </a:extLst>
          </p:cNvPr>
          <p:cNvGrpSpPr/>
          <p:nvPr/>
        </p:nvGrpSpPr>
        <p:grpSpPr>
          <a:xfrm>
            <a:off x="1975194" y="1649636"/>
            <a:ext cx="5193612" cy="1776190"/>
            <a:chOff x="2104111" y="1644873"/>
            <a:chExt cx="5193612" cy="1776190"/>
          </a:xfrm>
          <a:solidFill>
            <a:srgbClr val="FFFF00"/>
          </a:solidFill>
        </p:grpSpPr>
        <p:sp>
          <p:nvSpPr>
            <p:cNvPr id="11" name="Rectangle: Diagonal Corners Rounded 10">
              <a:extLst>
                <a:ext uri="{FF2B5EF4-FFF2-40B4-BE49-F238E27FC236}">
                  <a16:creationId xmlns:a16="http://schemas.microsoft.com/office/drawing/2014/main" id="{7E2ADF67-92F6-A99D-E4AD-450E00E9C474}"/>
                </a:ext>
              </a:extLst>
            </p:cNvPr>
            <p:cNvSpPr/>
            <p:nvPr/>
          </p:nvSpPr>
          <p:spPr>
            <a:xfrm>
              <a:off x="2104111" y="1644873"/>
              <a:ext cx="5193612" cy="1776190"/>
            </a:xfrm>
            <a:prstGeom prst="round2Diag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a:solidFill>
                  <a:prstClr val="white"/>
                </a:solidFill>
                <a:latin typeface="Aptos" panose="02110004020202020204"/>
              </a:endParaRPr>
            </a:p>
          </p:txBody>
        </p:sp>
        <p:sp>
          <p:nvSpPr>
            <p:cNvPr id="10" name="TextBox 9">
              <a:extLst>
                <a:ext uri="{FF2B5EF4-FFF2-40B4-BE49-F238E27FC236}">
                  <a16:creationId xmlns:a16="http://schemas.microsoft.com/office/drawing/2014/main" id="{711EB407-8B61-7442-810E-59F8B751A856}"/>
                </a:ext>
              </a:extLst>
            </p:cNvPr>
            <p:cNvSpPr txBox="1"/>
            <p:nvPr/>
          </p:nvSpPr>
          <p:spPr>
            <a:xfrm>
              <a:off x="2622748" y="2025139"/>
              <a:ext cx="4156340" cy="1015663"/>
            </a:xfrm>
            <a:prstGeom prst="rect">
              <a:avLst/>
            </a:prstGeom>
            <a:grpFill/>
          </p:spPr>
          <p:txBody>
            <a:bodyPr wrap="square" rtlCol="0">
              <a:spAutoFit/>
            </a:bodyPr>
            <a:lstStyle/>
            <a:p>
              <a:pPr algn="ctr" defTabSz="685800"/>
              <a:r>
                <a:rPr lang="en-US" sz="6000" b="1">
                  <a:solidFill>
                    <a:srgbClr val="156082"/>
                  </a:solidFill>
                  <a:latin typeface="Arial" panose="020B0604020202020204" pitchFamily="34" charset="0"/>
                  <a:cs typeface="Arial" panose="020B0604020202020204" pitchFamily="34" charset="0"/>
                </a:rPr>
                <a:t>Q &amp; A</a:t>
              </a:r>
            </a:p>
          </p:txBody>
        </p:sp>
      </p:grpSp>
      <p:pic>
        <p:nvPicPr>
          <p:cNvPr id="5" name="Picture 4" descr="A picture containing text, device, gauge, meter&#10;&#10;Description automatically generated">
            <a:extLst>
              <a:ext uri="{FF2B5EF4-FFF2-40B4-BE49-F238E27FC236}">
                <a16:creationId xmlns:a16="http://schemas.microsoft.com/office/drawing/2014/main" id="{E7F9485A-5615-AB64-6E65-3997C12BF5DA}"/>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273246" y="405470"/>
            <a:ext cx="2597509" cy="932676"/>
          </a:xfrm>
          <a:prstGeom prst="rect">
            <a:avLst/>
          </a:prstGeom>
        </p:spPr>
      </p:pic>
      <p:sp>
        <p:nvSpPr>
          <p:cNvPr id="2" name="TextBox 1">
            <a:extLst>
              <a:ext uri="{FF2B5EF4-FFF2-40B4-BE49-F238E27FC236}">
                <a16:creationId xmlns:a16="http://schemas.microsoft.com/office/drawing/2014/main" id="{2B1A5E7E-52AA-5A20-700D-3A62F9E010C7}"/>
              </a:ext>
            </a:extLst>
          </p:cNvPr>
          <p:cNvSpPr txBox="1"/>
          <p:nvPr/>
        </p:nvSpPr>
        <p:spPr>
          <a:xfrm>
            <a:off x="1176338" y="3737315"/>
            <a:ext cx="6791325" cy="369332"/>
          </a:xfrm>
          <a:prstGeom prst="rect">
            <a:avLst/>
          </a:prstGeom>
          <a:noFill/>
        </p:spPr>
        <p:txBody>
          <a:bodyPr wrap="square" rtlCol="0">
            <a:spAutoFit/>
          </a:bodyPr>
          <a:lstStyle/>
          <a:p>
            <a:pPr defTabSz="685800"/>
            <a:r>
              <a:rPr lang="en-US" b="1">
                <a:solidFill>
                  <a:prstClr val="white"/>
                </a:solidFill>
                <a:latin typeface="Arial" panose="020B0604020202020204" pitchFamily="34" charset="0"/>
                <a:cs typeface="Arial" panose="020B0604020202020204" pitchFamily="34" charset="0"/>
              </a:rPr>
              <a:t>Thank you for joining, we know you are just getting started!</a:t>
            </a:r>
          </a:p>
        </p:txBody>
      </p:sp>
    </p:spTree>
    <p:extLst>
      <p:ext uri="{BB962C8B-B14F-4D97-AF65-F5344CB8AC3E}">
        <p14:creationId xmlns:p14="http://schemas.microsoft.com/office/powerpoint/2010/main" val="1784661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EEC199D-AACC-BC22-CF42-5157FC820E60}"/>
              </a:ext>
            </a:extLst>
          </p:cNvPr>
          <p:cNvSpPr txBox="1"/>
          <p:nvPr/>
        </p:nvSpPr>
        <p:spPr>
          <a:xfrm>
            <a:off x="2549747" y="269801"/>
            <a:ext cx="3911600" cy="738664"/>
          </a:xfrm>
          <a:prstGeom prst="rect">
            <a:avLst/>
          </a:prstGeom>
          <a:noFill/>
        </p:spPr>
        <p:txBody>
          <a:bodyPr wrap="square" rtlCol="0">
            <a:spAutoFit/>
          </a:bodyPr>
          <a:lstStyle/>
          <a:p>
            <a:pPr algn="ctr"/>
            <a:r>
              <a:rPr lang="en-US" sz="4200" b="1">
                <a:solidFill>
                  <a:schemeClr val="bg1"/>
                </a:solidFill>
              </a:rPr>
              <a:t>Thank You</a:t>
            </a:r>
          </a:p>
        </p:txBody>
      </p:sp>
      <p:sp>
        <p:nvSpPr>
          <p:cNvPr id="5" name="Rectangle: Diagonal Corners Rounded 4">
            <a:extLst>
              <a:ext uri="{FF2B5EF4-FFF2-40B4-BE49-F238E27FC236}">
                <a16:creationId xmlns:a16="http://schemas.microsoft.com/office/drawing/2014/main" id="{FC3C335E-DD01-0C8F-8945-6FE58556405D}"/>
              </a:ext>
            </a:extLst>
          </p:cNvPr>
          <p:cNvSpPr/>
          <p:nvPr/>
        </p:nvSpPr>
        <p:spPr>
          <a:xfrm>
            <a:off x="1648046" y="2804043"/>
            <a:ext cx="5904909" cy="2218217"/>
          </a:xfrm>
          <a:prstGeom prst="round2DiagRect">
            <a:avLst>
              <a:gd name="adj1" fmla="val 49207"/>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C5CD4B7-7CB7-E614-AD9B-DD81F66655E8}"/>
              </a:ext>
            </a:extLst>
          </p:cNvPr>
          <p:cNvSpPr txBox="1"/>
          <p:nvPr/>
        </p:nvSpPr>
        <p:spPr>
          <a:xfrm>
            <a:off x="3932053" y="2804842"/>
            <a:ext cx="2525527" cy="1615827"/>
          </a:xfrm>
          <a:prstGeom prst="rect">
            <a:avLst/>
          </a:prstGeom>
          <a:noFill/>
        </p:spPr>
        <p:txBody>
          <a:bodyPr wrap="square" lIns="91440" tIns="45720" rIns="91440" bIns="45720" rtlCol="0" anchor="t">
            <a:spAutoFit/>
          </a:bodyPr>
          <a:lstStyle/>
          <a:p>
            <a:endParaRPr lang="en-US" sz="1100" b="1">
              <a:latin typeface="Segoe UI"/>
              <a:cs typeface="Segoe UI"/>
            </a:endParaRPr>
          </a:p>
          <a:p>
            <a:r>
              <a:rPr lang="en-US" sz="1100" b="1">
                <a:latin typeface="Segoe UI"/>
                <a:cs typeface="Segoe UI"/>
              </a:rPr>
              <a:t>Gabriel S Kumar </a:t>
            </a:r>
            <a:endParaRPr lang="en-US" sz="1100">
              <a:latin typeface="Segoe UI"/>
              <a:cs typeface="Segoe UI"/>
            </a:endParaRPr>
          </a:p>
          <a:p>
            <a:r>
              <a:rPr lang="en-US" sz="1100" b="1">
                <a:latin typeface="Segoe UI"/>
                <a:cs typeface="Segoe UI"/>
              </a:rPr>
              <a:t>(</a:t>
            </a:r>
            <a:r>
              <a:rPr lang="en-US" sz="1100">
                <a:latin typeface="Segoe UI"/>
                <a:cs typeface="Segoe UI"/>
                <a:hlinkClick r:id="rId2"/>
              </a:rPr>
              <a:t>gabriels@revature.com</a:t>
            </a:r>
            <a:r>
              <a:rPr lang="en-US" sz="1100" b="1">
                <a:latin typeface="Segoe UI"/>
                <a:cs typeface="Segoe UI"/>
              </a:rPr>
              <a:t>)</a:t>
            </a:r>
            <a:endParaRPr lang="en-US" sz="1100">
              <a:latin typeface="Segoe UI"/>
              <a:cs typeface="Segoe UI"/>
            </a:endParaRPr>
          </a:p>
          <a:p>
            <a:r>
              <a:rPr lang="en-US" sz="1100">
                <a:latin typeface="Segoe UI"/>
                <a:cs typeface="Segoe UI"/>
              </a:rPr>
              <a:t>Associate Director – CES</a:t>
            </a:r>
          </a:p>
          <a:p>
            <a:endParaRPr lang="en-US" sz="1100">
              <a:latin typeface="Segoe UI"/>
              <a:cs typeface="Segoe UI"/>
            </a:endParaRPr>
          </a:p>
          <a:p>
            <a:r>
              <a:rPr lang="en-US" sz="1100" b="1">
                <a:latin typeface="Segoe UI"/>
                <a:cs typeface="Segoe UI"/>
              </a:rPr>
              <a:t>Devi Darshanaa</a:t>
            </a:r>
            <a:endParaRPr lang="en-US" sz="1100">
              <a:latin typeface="Segoe UI"/>
              <a:cs typeface="Segoe UI"/>
            </a:endParaRPr>
          </a:p>
          <a:p>
            <a:r>
              <a:rPr lang="en-US" sz="1100" b="1">
                <a:latin typeface="Segoe UI"/>
                <a:cs typeface="Segoe UI"/>
              </a:rPr>
              <a:t>(</a:t>
            </a:r>
            <a:r>
              <a:rPr lang="en-US" sz="1100">
                <a:latin typeface="Segoe UI"/>
                <a:cs typeface="Segoe UI"/>
                <a:hlinkClick r:id="rId3"/>
              </a:rPr>
              <a:t>devi.darshanaa@revature.com</a:t>
            </a:r>
            <a:r>
              <a:rPr lang="en-US" sz="1100" b="1">
                <a:latin typeface="Segoe UI"/>
                <a:cs typeface="Segoe UI"/>
              </a:rPr>
              <a:t>)</a:t>
            </a:r>
            <a:endParaRPr lang="en-US" sz="1100">
              <a:latin typeface="Segoe UI"/>
              <a:cs typeface="Segoe UI"/>
            </a:endParaRPr>
          </a:p>
          <a:p>
            <a:r>
              <a:rPr lang="en-US" sz="1100">
                <a:latin typeface="Segoe UI"/>
                <a:cs typeface="Segoe UI"/>
              </a:rPr>
              <a:t>Delivery Manager</a:t>
            </a:r>
          </a:p>
          <a:p>
            <a:endParaRPr lang="en-US" sz="1100" b="1">
              <a:latin typeface="Segoe UI"/>
              <a:cs typeface="Segoe UI"/>
            </a:endParaRPr>
          </a:p>
        </p:txBody>
      </p:sp>
      <p:sp>
        <p:nvSpPr>
          <p:cNvPr id="7" name="TextBox 6">
            <a:extLst>
              <a:ext uri="{FF2B5EF4-FFF2-40B4-BE49-F238E27FC236}">
                <a16:creationId xmlns:a16="http://schemas.microsoft.com/office/drawing/2014/main" id="{FC849C5C-E8B9-6A90-FF6A-2BDAAF82961D}"/>
              </a:ext>
            </a:extLst>
          </p:cNvPr>
          <p:cNvSpPr txBox="1"/>
          <p:nvPr/>
        </p:nvSpPr>
        <p:spPr>
          <a:xfrm>
            <a:off x="2184548" y="3421455"/>
            <a:ext cx="1575192" cy="800219"/>
          </a:xfrm>
          <a:prstGeom prst="rect">
            <a:avLst/>
          </a:prstGeom>
          <a:noFill/>
        </p:spPr>
        <p:txBody>
          <a:bodyPr wrap="square" lIns="91440" tIns="45720" rIns="91440" bIns="45720" rtlCol="0" anchor="t">
            <a:spAutoFit/>
          </a:bodyPr>
          <a:lstStyle/>
          <a:p>
            <a:r>
              <a:rPr lang="en-US" b="1"/>
              <a:t>For More Information</a:t>
            </a:r>
          </a:p>
          <a:p>
            <a:r>
              <a:rPr lang="en-US" sz="1000" i="1"/>
              <a:t>Please feel free to reach –</a:t>
            </a:r>
          </a:p>
        </p:txBody>
      </p:sp>
      <p:cxnSp>
        <p:nvCxnSpPr>
          <p:cNvPr id="9" name="Straight Connector 8">
            <a:extLst>
              <a:ext uri="{FF2B5EF4-FFF2-40B4-BE49-F238E27FC236}">
                <a16:creationId xmlns:a16="http://schemas.microsoft.com/office/drawing/2014/main" id="{937DBF48-E859-9FF8-44C6-6D0C85385D39}"/>
              </a:ext>
            </a:extLst>
          </p:cNvPr>
          <p:cNvCxnSpPr>
            <a:cxnSpLocks/>
          </p:cNvCxnSpPr>
          <p:nvPr/>
        </p:nvCxnSpPr>
        <p:spPr>
          <a:xfrm>
            <a:off x="3794050" y="3374545"/>
            <a:ext cx="5562" cy="115296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5350BEF-3055-E8E7-71F8-BFC4A20ED5BB}"/>
              </a:ext>
            </a:extLst>
          </p:cNvPr>
          <p:cNvSpPr txBox="1"/>
          <p:nvPr/>
        </p:nvSpPr>
        <p:spPr>
          <a:xfrm>
            <a:off x="2187330" y="4839226"/>
            <a:ext cx="3975345" cy="230832"/>
          </a:xfrm>
          <a:prstGeom prst="rect">
            <a:avLst/>
          </a:prstGeom>
          <a:noFill/>
        </p:spPr>
        <p:txBody>
          <a:bodyPr wrap="square" lIns="91440" tIns="45720" rIns="91440" bIns="45720" rtlCol="0" anchor="t">
            <a:spAutoFit/>
          </a:bodyPr>
          <a:lstStyle/>
          <a:p>
            <a:pPr algn="ctr"/>
            <a:r>
              <a:rPr lang="en-US" sz="900"/>
              <a:t>Private and Confidential: For Internal Use Only</a:t>
            </a:r>
          </a:p>
        </p:txBody>
      </p:sp>
    </p:spTree>
    <p:extLst>
      <p:ext uri="{BB962C8B-B14F-4D97-AF65-F5344CB8AC3E}">
        <p14:creationId xmlns:p14="http://schemas.microsoft.com/office/powerpoint/2010/main" val="2332309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p:txBody>
          <a:bodyPr/>
          <a:lstStyle/>
          <a:p>
            <a:r>
              <a:rPr lang="en-US"/>
              <a:t>What are Meet &amp; Greets?</a:t>
            </a:r>
          </a:p>
        </p:txBody>
      </p:sp>
      <p:sp>
        <p:nvSpPr>
          <p:cNvPr id="4" name="TextBox 3">
            <a:extLst>
              <a:ext uri="{FF2B5EF4-FFF2-40B4-BE49-F238E27FC236}">
                <a16:creationId xmlns:a16="http://schemas.microsoft.com/office/drawing/2014/main" id="{E521DA9C-AC7B-7F58-8B43-EB661F582857}"/>
              </a:ext>
            </a:extLst>
          </p:cNvPr>
          <p:cNvSpPr txBox="1"/>
          <p:nvPr/>
        </p:nvSpPr>
        <p:spPr>
          <a:xfrm>
            <a:off x="436982" y="1021274"/>
            <a:ext cx="6485533" cy="2775055"/>
          </a:xfrm>
          <a:prstGeom prst="rect">
            <a:avLst/>
          </a:prstGeom>
          <a:noFill/>
        </p:spPr>
        <p:txBody>
          <a:bodyPr wrap="square" lIns="91440" tIns="45720" rIns="91440" bIns="45720" rtlCol="0" anchor="t">
            <a:spAutoFit/>
          </a:bodyPr>
          <a:lstStyle/>
          <a:p>
            <a:pPr marL="285750" indent="-285750" algn="just">
              <a:lnSpc>
                <a:spcPct val="200000"/>
              </a:lnSpc>
              <a:buFont typeface="Arial" panose="020B0604020202020204" pitchFamily="34" charset="0"/>
              <a:buChar char="•"/>
            </a:pPr>
            <a:r>
              <a:rPr lang="en-US"/>
              <a:t>Meet Client Leaders and Potential Teams.</a:t>
            </a:r>
          </a:p>
          <a:p>
            <a:pPr marL="285750" indent="-285750" algn="just">
              <a:lnSpc>
                <a:spcPct val="200000"/>
              </a:lnSpc>
              <a:buFont typeface="Arial" panose="020B0604020202020204" pitchFamily="34" charset="0"/>
              <a:buChar char="•"/>
            </a:pPr>
            <a:r>
              <a:rPr lang="en-US"/>
              <a:t>A way for you to ask questions about the client(s) and team(s).</a:t>
            </a:r>
          </a:p>
          <a:p>
            <a:pPr marL="285750" indent="-285750" algn="just">
              <a:buFont typeface="Arial" panose="020B0604020202020204" pitchFamily="34" charset="0"/>
              <a:buChar char="•"/>
            </a:pPr>
            <a:r>
              <a:rPr lang="en-US"/>
              <a:t>Platform to ask directly about technologies </a:t>
            </a:r>
            <a:br>
              <a:rPr lang="en-US"/>
            </a:br>
            <a:r>
              <a:rPr lang="en-US"/>
              <a:t>and impacts teams are making in technology.</a:t>
            </a:r>
          </a:p>
          <a:p>
            <a:pPr marL="285750" indent="-285750" algn="just">
              <a:lnSpc>
                <a:spcPct val="200000"/>
              </a:lnSpc>
              <a:buFont typeface="Arial" panose="020B0604020202020204" pitchFamily="34" charset="0"/>
              <a:buChar char="•"/>
            </a:pPr>
            <a:r>
              <a:rPr lang="en-US"/>
              <a:t>Aimed at preparing you for interviews with clients.</a:t>
            </a:r>
          </a:p>
        </p:txBody>
      </p:sp>
      <p:pic>
        <p:nvPicPr>
          <p:cNvPr id="7" name="Picture 6">
            <a:extLst>
              <a:ext uri="{FF2B5EF4-FFF2-40B4-BE49-F238E27FC236}">
                <a16:creationId xmlns:a16="http://schemas.microsoft.com/office/drawing/2014/main" id="{F85BA210-E6C6-F662-05D3-3608E2F3B0F1}"/>
              </a:ext>
            </a:extLst>
          </p:cNvPr>
          <p:cNvPicPr>
            <a:picLocks noChangeAspect="1"/>
          </p:cNvPicPr>
          <p:nvPr/>
        </p:nvPicPr>
        <p:blipFill>
          <a:blip r:embed="rId2"/>
          <a:stretch>
            <a:fillRect/>
          </a:stretch>
        </p:blipFill>
        <p:spPr>
          <a:xfrm>
            <a:off x="7077763" y="1197523"/>
            <a:ext cx="1816499" cy="2976554"/>
          </a:xfrm>
          <a:prstGeom prst="rect">
            <a:avLst/>
          </a:prstGeom>
        </p:spPr>
      </p:pic>
      <p:sp>
        <p:nvSpPr>
          <p:cNvPr id="8" name="Rectangle 7">
            <a:extLst>
              <a:ext uri="{FF2B5EF4-FFF2-40B4-BE49-F238E27FC236}">
                <a16:creationId xmlns:a16="http://schemas.microsoft.com/office/drawing/2014/main" id="{A54DB640-BA06-C9EF-EF3B-A52F9E887BB5}"/>
              </a:ext>
            </a:extLst>
          </p:cNvPr>
          <p:cNvSpPr/>
          <p:nvPr/>
        </p:nvSpPr>
        <p:spPr>
          <a:xfrm>
            <a:off x="7074317" y="3881729"/>
            <a:ext cx="1819656" cy="3059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et &amp; Greet</a:t>
            </a:r>
          </a:p>
        </p:txBody>
      </p:sp>
    </p:spTree>
    <p:extLst>
      <p:ext uri="{BB962C8B-B14F-4D97-AF65-F5344CB8AC3E}">
        <p14:creationId xmlns:p14="http://schemas.microsoft.com/office/powerpoint/2010/main" val="4004633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73B7D-F757-5484-E7A0-2144BD3491B6}"/>
              </a:ext>
            </a:extLst>
          </p:cNvPr>
          <p:cNvSpPr>
            <a:spLocks noGrp="1"/>
          </p:cNvSpPr>
          <p:nvPr>
            <p:ph type="title"/>
          </p:nvPr>
        </p:nvSpPr>
        <p:spPr>
          <a:xfrm>
            <a:off x="362747" y="465520"/>
            <a:ext cx="8722343" cy="347690"/>
          </a:xfrm>
        </p:spPr>
        <p:txBody>
          <a:bodyPr/>
          <a:lstStyle/>
          <a:p>
            <a:r>
              <a:rPr lang="en-US"/>
              <a:t>Introducing Yourself</a:t>
            </a:r>
          </a:p>
        </p:txBody>
      </p:sp>
      <p:sp>
        <p:nvSpPr>
          <p:cNvPr id="4" name="TextBox 3">
            <a:extLst>
              <a:ext uri="{FF2B5EF4-FFF2-40B4-BE49-F238E27FC236}">
                <a16:creationId xmlns:a16="http://schemas.microsoft.com/office/drawing/2014/main" id="{21DFD2E8-B222-DFCC-F2B7-0568F1A4CE11}"/>
              </a:ext>
            </a:extLst>
          </p:cNvPr>
          <p:cNvSpPr txBox="1"/>
          <p:nvPr/>
        </p:nvSpPr>
        <p:spPr>
          <a:xfrm>
            <a:off x="547227" y="1122700"/>
            <a:ext cx="6485533" cy="2047933"/>
          </a:xfrm>
          <a:prstGeom prst="rect">
            <a:avLst/>
          </a:prstGeom>
          <a:noFill/>
        </p:spPr>
        <p:txBody>
          <a:bodyPr wrap="square" lIns="91440" tIns="45720" rIns="91440" bIns="45720" rtlCol="0" anchor="t">
            <a:spAutoFit/>
          </a:bodyPr>
          <a:lstStyle/>
          <a:p>
            <a:pPr marL="285750" indent="-285750">
              <a:lnSpc>
                <a:spcPct val="250000"/>
              </a:lnSpc>
              <a:buFont typeface="Arial" panose="020B0604020202020204" pitchFamily="34" charset="0"/>
              <a:buChar char="•"/>
            </a:pPr>
            <a:r>
              <a:rPr lang="en-US"/>
              <a:t>State your Name, Region, Background, Fun Fact</a:t>
            </a:r>
          </a:p>
          <a:p>
            <a:pPr marL="285750" indent="-285750">
              <a:lnSpc>
                <a:spcPct val="250000"/>
              </a:lnSpc>
              <a:buFont typeface="Arial" panose="020B0604020202020204" pitchFamily="34" charset="0"/>
              <a:buChar char="•"/>
            </a:pPr>
            <a:r>
              <a:rPr lang="en-US"/>
              <a:t>Please be Brief (less than 60 seconds)</a:t>
            </a:r>
          </a:p>
          <a:p>
            <a:pPr marL="285750" indent="-285750">
              <a:lnSpc>
                <a:spcPct val="250000"/>
              </a:lnSpc>
              <a:buFont typeface="Arial" panose="020B0604020202020204" pitchFamily="34" charset="0"/>
              <a:buChar char="•"/>
            </a:pPr>
            <a:endParaRPr lang="en-US"/>
          </a:p>
        </p:txBody>
      </p:sp>
    </p:spTree>
    <p:extLst>
      <p:ext uri="{BB962C8B-B14F-4D97-AF65-F5344CB8AC3E}">
        <p14:creationId xmlns:p14="http://schemas.microsoft.com/office/powerpoint/2010/main" val="2860449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a:xfrm>
            <a:off x="176111" y="324869"/>
            <a:ext cx="8722343" cy="347690"/>
          </a:xfrm>
        </p:spPr>
        <p:txBody>
          <a:bodyPr/>
          <a:lstStyle/>
          <a:p>
            <a:r>
              <a:rPr lang="en-US"/>
              <a:t>Basic </a:t>
            </a:r>
            <a:r>
              <a:rPr lang="en-US" i="1" u="sng"/>
              <a:t>Do’s</a:t>
            </a:r>
            <a:r>
              <a:rPr lang="en-US"/>
              <a:t> and </a:t>
            </a:r>
            <a:r>
              <a:rPr lang="en-US" i="1" u="sng"/>
              <a:t>Don’ts</a:t>
            </a:r>
          </a:p>
        </p:txBody>
      </p:sp>
      <p:sp>
        <p:nvSpPr>
          <p:cNvPr id="4" name="TextBox 3">
            <a:extLst>
              <a:ext uri="{FF2B5EF4-FFF2-40B4-BE49-F238E27FC236}">
                <a16:creationId xmlns:a16="http://schemas.microsoft.com/office/drawing/2014/main" id="{E521DA9C-AC7B-7F58-8B43-EB661F582857}"/>
              </a:ext>
            </a:extLst>
          </p:cNvPr>
          <p:cNvSpPr txBox="1"/>
          <p:nvPr/>
        </p:nvSpPr>
        <p:spPr>
          <a:xfrm>
            <a:off x="522514" y="1207432"/>
            <a:ext cx="3960636" cy="2800767"/>
          </a:xfrm>
          <a:prstGeom prst="rect">
            <a:avLst/>
          </a:prstGeom>
          <a:noFill/>
        </p:spPr>
        <p:txBody>
          <a:bodyPr wrap="square" rtlCol="0">
            <a:spAutoFit/>
          </a:bodyPr>
          <a:lstStyle/>
          <a:p>
            <a:pPr marL="285750" indent="-285750" algn="just">
              <a:buFont typeface="Arial" panose="020B0604020202020204" pitchFamily="34" charset="0"/>
              <a:buChar char="•"/>
            </a:pPr>
            <a:r>
              <a:rPr lang="en-US" sz="1600"/>
              <a:t>Be polite and professional</a:t>
            </a:r>
          </a:p>
          <a:p>
            <a:pPr marL="285750" indent="-285750" algn="just">
              <a:buFont typeface="Arial" panose="020B0604020202020204" pitchFamily="34" charset="0"/>
              <a:buChar char="•"/>
            </a:pPr>
            <a:r>
              <a:rPr lang="en-US" sz="1600"/>
              <a:t>Prepare a few relevant questions </a:t>
            </a:r>
          </a:p>
          <a:p>
            <a:pPr marL="285750" indent="-285750" algn="just">
              <a:buFont typeface="Arial" panose="020B0604020202020204" pitchFamily="34" charset="0"/>
              <a:buChar char="•"/>
            </a:pPr>
            <a:r>
              <a:rPr lang="en-US" sz="1600"/>
              <a:t>Ask questions &amp; Participate</a:t>
            </a:r>
          </a:p>
          <a:p>
            <a:pPr marL="285750" indent="-285750" algn="just">
              <a:buFont typeface="Arial" panose="020B0604020202020204" pitchFamily="34" charset="0"/>
              <a:buChar char="•"/>
            </a:pPr>
            <a:r>
              <a:rPr lang="en-US" sz="1600"/>
              <a:t>Be on video with appropriate lighting</a:t>
            </a:r>
          </a:p>
          <a:p>
            <a:pPr marL="285750" indent="-285750" algn="just">
              <a:buFont typeface="Arial" panose="020B0604020202020204" pitchFamily="34" charset="0"/>
              <a:buChar char="•"/>
            </a:pPr>
            <a:r>
              <a:rPr lang="en-US" sz="1600"/>
              <a:t>Be on mute unless asking or answering questions</a:t>
            </a:r>
          </a:p>
          <a:p>
            <a:pPr marL="285750" indent="-285750" algn="just">
              <a:buFont typeface="Arial" panose="020B0604020202020204" pitchFamily="34" charset="0"/>
              <a:buChar char="•"/>
            </a:pPr>
            <a:r>
              <a:rPr lang="en-US" sz="1600"/>
              <a:t>Wear appropriate attire</a:t>
            </a:r>
          </a:p>
          <a:p>
            <a:pPr marL="285750" indent="-285750" algn="just">
              <a:buFont typeface="Arial" panose="020B0604020202020204" pitchFamily="34" charset="0"/>
              <a:buChar char="•"/>
            </a:pPr>
            <a:r>
              <a:rPr lang="en-US" sz="1600"/>
              <a:t>Be positive</a:t>
            </a:r>
          </a:p>
          <a:p>
            <a:pPr marL="285750" indent="-285750" algn="just">
              <a:buFont typeface="Arial" panose="020B0604020202020204" pitchFamily="34" charset="0"/>
              <a:buChar char="•"/>
            </a:pPr>
            <a:r>
              <a:rPr lang="en-US" sz="1600"/>
              <a:t>Pay Attention</a:t>
            </a:r>
          </a:p>
          <a:p>
            <a:pPr marL="285750" indent="-285750" algn="just">
              <a:buFont typeface="Arial" panose="020B0604020202020204" pitchFamily="34" charset="0"/>
              <a:buChar char="•"/>
            </a:pPr>
            <a:r>
              <a:rPr lang="en-US" sz="1600"/>
              <a:t>Take Notes</a:t>
            </a:r>
          </a:p>
        </p:txBody>
      </p:sp>
      <p:sp>
        <p:nvSpPr>
          <p:cNvPr id="2" name="TextBox 1">
            <a:extLst>
              <a:ext uri="{FF2B5EF4-FFF2-40B4-BE49-F238E27FC236}">
                <a16:creationId xmlns:a16="http://schemas.microsoft.com/office/drawing/2014/main" id="{55A1B7B2-033C-F038-3ABD-EAD6BCDD2029}"/>
              </a:ext>
            </a:extLst>
          </p:cNvPr>
          <p:cNvSpPr txBox="1"/>
          <p:nvPr/>
        </p:nvSpPr>
        <p:spPr>
          <a:xfrm>
            <a:off x="4660851" y="1207432"/>
            <a:ext cx="4401947" cy="2123658"/>
          </a:xfrm>
          <a:prstGeom prst="rect">
            <a:avLst/>
          </a:prstGeom>
          <a:noFill/>
        </p:spPr>
        <p:txBody>
          <a:bodyPr wrap="square" rtlCol="0">
            <a:spAutoFit/>
          </a:bodyPr>
          <a:lstStyle/>
          <a:p>
            <a:pPr marL="285750" indent="-285750" algn="just">
              <a:buFont typeface="Arial" panose="020B0604020202020204" pitchFamily="34" charset="0"/>
              <a:buChar char="•"/>
            </a:pPr>
            <a:r>
              <a:rPr lang="en-US" sz="1600"/>
              <a:t>Ask Revature related questions</a:t>
            </a:r>
          </a:p>
          <a:p>
            <a:pPr marL="742950" lvl="1" indent="-285750" algn="just">
              <a:buFont typeface="Arial" panose="020B0604020202020204" pitchFamily="34" charset="0"/>
              <a:buChar char="•"/>
            </a:pPr>
            <a:r>
              <a:rPr lang="en-US" sz="1600"/>
              <a:t>PTO, Pay, Relocation, Benefits</a:t>
            </a:r>
          </a:p>
          <a:p>
            <a:pPr marL="285750" indent="-285750" algn="just">
              <a:buFont typeface="Arial" panose="020B0604020202020204" pitchFamily="34" charset="0"/>
              <a:buChar char="•"/>
            </a:pPr>
            <a:r>
              <a:rPr lang="en-US" sz="1600"/>
              <a:t>How many positions are there</a:t>
            </a:r>
          </a:p>
          <a:p>
            <a:pPr marL="742950" lvl="1" indent="-285750" algn="just">
              <a:buFont typeface="Arial" panose="020B0604020202020204" pitchFamily="34" charset="0"/>
              <a:buChar char="•"/>
            </a:pPr>
            <a:r>
              <a:rPr lang="en-US" sz="1600"/>
              <a:t>Not all will know</a:t>
            </a:r>
          </a:p>
          <a:p>
            <a:pPr marL="285750" indent="-285750" algn="just">
              <a:buFont typeface="Arial" panose="020B0604020202020204" pitchFamily="34" charset="0"/>
              <a:buChar char="•"/>
            </a:pPr>
            <a:r>
              <a:rPr lang="en-US" sz="1600"/>
              <a:t>Leave the area while you're on video </a:t>
            </a:r>
            <a:br>
              <a:rPr lang="en-US" sz="1600"/>
            </a:br>
            <a:r>
              <a:rPr lang="en-US" sz="1600"/>
              <a:t>during the M&amp;G</a:t>
            </a:r>
          </a:p>
          <a:p>
            <a:pPr marL="285750" indent="-285750" algn="just">
              <a:buFont typeface="Arial" panose="020B0604020202020204" pitchFamily="34" charset="0"/>
              <a:buChar char="•"/>
            </a:pPr>
            <a:r>
              <a:rPr lang="en-US" sz="1600"/>
              <a:t>Drink or Eat During M&amp;G</a:t>
            </a:r>
          </a:p>
          <a:p>
            <a:pPr marL="285750" indent="-285750" algn="just">
              <a:buFont typeface="Arial" panose="020B0604020202020204" pitchFamily="34" charset="0"/>
              <a:buChar char="•"/>
            </a:pPr>
            <a:r>
              <a:rPr lang="en-US" sz="1600"/>
              <a:t>Take another Call during M&amp;G</a:t>
            </a:r>
          </a:p>
        </p:txBody>
      </p:sp>
      <p:sp>
        <p:nvSpPr>
          <p:cNvPr id="3" name="TextBox 2">
            <a:extLst>
              <a:ext uri="{FF2B5EF4-FFF2-40B4-BE49-F238E27FC236}">
                <a16:creationId xmlns:a16="http://schemas.microsoft.com/office/drawing/2014/main" id="{2F1376B7-8D85-F971-C519-59603F09AF12}"/>
              </a:ext>
            </a:extLst>
          </p:cNvPr>
          <p:cNvSpPr txBox="1"/>
          <p:nvPr/>
        </p:nvSpPr>
        <p:spPr>
          <a:xfrm>
            <a:off x="522514" y="850850"/>
            <a:ext cx="1352182" cy="377764"/>
          </a:xfrm>
          <a:prstGeom prst="rect">
            <a:avLst/>
          </a:prstGeom>
          <a:noFill/>
        </p:spPr>
        <p:txBody>
          <a:bodyPr wrap="square" rtlCol="0">
            <a:spAutoFit/>
          </a:bodyPr>
          <a:lstStyle/>
          <a:p>
            <a:r>
              <a:rPr lang="en-US">
                <a:solidFill>
                  <a:srgbClr val="0741CB"/>
                </a:solidFill>
              </a:rPr>
              <a:t>DO’s</a:t>
            </a:r>
          </a:p>
        </p:txBody>
      </p:sp>
      <p:sp>
        <p:nvSpPr>
          <p:cNvPr id="5" name="TextBox 4">
            <a:extLst>
              <a:ext uri="{FF2B5EF4-FFF2-40B4-BE49-F238E27FC236}">
                <a16:creationId xmlns:a16="http://schemas.microsoft.com/office/drawing/2014/main" id="{77D9E586-61C6-F677-5CB4-2DF7AEA85E95}"/>
              </a:ext>
            </a:extLst>
          </p:cNvPr>
          <p:cNvSpPr txBox="1"/>
          <p:nvPr/>
        </p:nvSpPr>
        <p:spPr>
          <a:xfrm>
            <a:off x="4660851" y="824960"/>
            <a:ext cx="1352182" cy="377764"/>
          </a:xfrm>
          <a:prstGeom prst="rect">
            <a:avLst/>
          </a:prstGeom>
          <a:noFill/>
        </p:spPr>
        <p:txBody>
          <a:bodyPr wrap="square" rtlCol="0">
            <a:spAutoFit/>
          </a:bodyPr>
          <a:lstStyle/>
          <a:p>
            <a:r>
              <a:rPr lang="en-US">
                <a:solidFill>
                  <a:srgbClr val="0741CB"/>
                </a:solidFill>
              </a:rPr>
              <a:t>DON’Ts</a:t>
            </a:r>
          </a:p>
        </p:txBody>
      </p:sp>
      <p:pic>
        <p:nvPicPr>
          <p:cNvPr id="8" name="Picture 7">
            <a:extLst>
              <a:ext uri="{FF2B5EF4-FFF2-40B4-BE49-F238E27FC236}">
                <a16:creationId xmlns:a16="http://schemas.microsoft.com/office/drawing/2014/main" id="{E7846D35-C9EB-3DAC-19B5-5AA3495EEEE7}"/>
              </a:ext>
            </a:extLst>
          </p:cNvPr>
          <p:cNvPicPr>
            <a:picLocks noChangeAspect="1"/>
          </p:cNvPicPr>
          <p:nvPr/>
        </p:nvPicPr>
        <p:blipFill>
          <a:blip r:embed="rId2"/>
          <a:stretch>
            <a:fillRect/>
          </a:stretch>
        </p:blipFill>
        <p:spPr>
          <a:xfrm>
            <a:off x="2661134" y="3364257"/>
            <a:ext cx="3047688" cy="1726285"/>
          </a:xfrm>
          <a:prstGeom prst="rect">
            <a:avLst/>
          </a:prstGeom>
        </p:spPr>
      </p:pic>
      <p:sp>
        <p:nvSpPr>
          <p:cNvPr id="9" name="Rectangle 8">
            <a:extLst>
              <a:ext uri="{FF2B5EF4-FFF2-40B4-BE49-F238E27FC236}">
                <a16:creationId xmlns:a16="http://schemas.microsoft.com/office/drawing/2014/main" id="{F813A659-80C2-C246-86CA-07CC451D8760}"/>
              </a:ext>
            </a:extLst>
          </p:cNvPr>
          <p:cNvSpPr/>
          <p:nvPr/>
        </p:nvSpPr>
        <p:spPr>
          <a:xfrm>
            <a:off x="2789097" y="3657600"/>
            <a:ext cx="2834993" cy="1902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et &amp; Greet?</a:t>
            </a:r>
          </a:p>
        </p:txBody>
      </p:sp>
      <p:sp>
        <p:nvSpPr>
          <p:cNvPr id="7" name="Rectangle 6">
            <a:extLst>
              <a:ext uri="{FF2B5EF4-FFF2-40B4-BE49-F238E27FC236}">
                <a16:creationId xmlns:a16="http://schemas.microsoft.com/office/drawing/2014/main" id="{09F16E75-F598-DA46-3AB1-E5893B4ACBDB}"/>
              </a:ext>
            </a:extLst>
          </p:cNvPr>
          <p:cNvSpPr/>
          <p:nvPr/>
        </p:nvSpPr>
        <p:spPr>
          <a:xfrm>
            <a:off x="4826195" y="4668168"/>
            <a:ext cx="797895" cy="264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Meet &amp; Greet</a:t>
            </a:r>
          </a:p>
        </p:txBody>
      </p:sp>
    </p:spTree>
    <p:extLst>
      <p:ext uri="{BB962C8B-B14F-4D97-AF65-F5344CB8AC3E}">
        <p14:creationId xmlns:p14="http://schemas.microsoft.com/office/powerpoint/2010/main" val="2824910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75385B-D9E6-4E23-99DC-32DBF22A3584}"/>
              </a:ext>
            </a:extLst>
          </p:cNvPr>
          <p:cNvSpPr>
            <a:spLocks noGrp="1"/>
          </p:cNvSpPr>
          <p:nvPr>
            <p:ph type="title"/>
          </p:nvPr>
        </p:nvSpPr>
        <p:spPr/>
        <p:txBody>
          <a:bodyPr/>
          <a:lstStyle/>
          <a:p>
            <a:r>
              <a:rPr lang="en-US"/>
              <a:t>Sample Questions</a:t>
            </a:r>
          </a:p>
        </p:txBody>
      </p:sp>
      <p:sp>
        <p:nvSpPr>
          <p:cNvPr id="4" name="TextBox 3">
            <a:extLst>
              <a:ext uri="{FF2B5EF4-FFF2-40B4-BE49-F238E27FC236}">
                <a16:creationId xmlns:a16="http://schemas.microsoft.com/office/drawing/2014/main" id="{E521DA9C-AC7B-7F58-8B43-EB661F582857}"/>
              </a:ext>
            </a:extLst>
          </p:cNvPr>
          <p:cNvSpPr txBox="1"/>
          <p:nvPr/>
        </p:nvSpPr>
        <p:spPr>
          <a:xfrm>
            <a:off x="480147" y="840260"/>
            <a:ext cx="3911942" cy="3600986"/>
          </a:xfrm>
          <a:prstGeom prst="rect">
            <a:avLst/>
          </a:prstGeom>
          <a:noFill/>
        </p:spPr>
        <p:txBody>
          <a:bodyPr wrap="square" lIns="91440" tIns="45720" rIns="91440" bIns="45720" rtlCol="0" anchor="t">
            <a:spAutoFit/>
          </a:bodyPr>
          <a:lstStyle/>
          <a:p>
            <a:pPr algn="just"/>
            <a:r>
              <a:rPr lang="en-US" sz="1200">
                <a:solidFill>
                  <a:srgbClr val="0741CB"/>
                </a:solidFill>
              </a:rPr>
              <a:t>When you are ready with your question, please use the Raise Hand feature in Teams and wait to be called upon then Introduce yourself (just your name) then proceed with your question. </a:t>
            </a:r>
          </a:p>
          <a:p>
            <a:pPr algn="just"/>
            <a:endParaRPr lang="en-US" sz="1200"/>
          </a:p>
          <a:p>
            <a:pPr marL="285750" indent="-285750" algn="just">
              <a:buFont typeface="Arial" panose="020B0604020202020204" pitchFamily="34" charset="0"/>
              <a:buChar char="•"/>
            </a:pPr>
            <a:r>
              <a:rPr lang="en-US" sz="1200"/>
              <a:t>We are in our </a:t>
            </a:r>
            <a:r>
              <a:rPr lang="en-US" sz="1200" b="1" u="sng"/>
              <a:t>##</a:t>
            </a:r>
            <a:r>
              <a:rPr lang="en-US" sz="1200"/>
              <a:t> week of training while we are learning </a:t>
            </a:r>
            <a:r>
              <a:rPr lang="en-US" sz="1200" b="1" i="1" u="sng"/>
              <a:t>XYZ</a:t>
            </a:r>
            <a:r>
              <a:rPr lang="en-US" sz="1200"/>
              <a:t>, can you tell us what to prepare for the most during our training?</a:t>
            </a:r>
          </a:p>
          <a:p>
            <a:pPr marL="285750" indent="-285750" algn="just">
              <a:buFont typeface="Arial" panose="020B0604020202020204" pitchFamily="34" charset="0"/>
              <a:buChar char="•"/>
            </a:pPr>
            <a:r>
              <a:rPr lang="en-US" sz="1200"/>
              <a:t>Can you tell us more about your team size?</a:t>
            </a:r>
          </a:p>
          <a:p>
            <a:pPr marL="285750" indent="-285750" algn="just">
              <a:buFont typeface="Arial" panose="020B0604020202020204" pitchFamily="34" charset="0"/>
              <a:buChar char="•"/>
            </a:pPr>
            <a:r>
              <a:rPr lang="en-US" sz="1200"/>
              <a:t>Are your teams in Daily Stand Ups? If so, how do those look?</a:t>
            </a:r>
          </a:p>
          <a:p>
            <a:pPr marL="285750" indent="-285750" algn="just">
              <a:buFont typeface="Arial" panose="020B0604020202020204" pitchFamily="34" charset="0"/>
              <a:buChar char="•"/>
            </a:pPr>
            <a:r>
              <a:rPr lang="en-US" sz="1200"/>
              <a:t>Do you participate in Sprints? If so, what is the average of each sprint?</a:t>
            </a:r>
          </a:p>
          <a:p>
            <a:pPr marL="285750" indent="-285750" algn="just">
              <a:buFont typeface="Arial" panose="020B0604020202020204" pitchFamily="34" charset="0"/>
              <a:buChar char="•"/>
            </a:pPr>
            <a:r>
              <a:rPr lang="en-US" sz="1200"/>
              <a:t>We are working on our certifications; can you tell us more about your cloud environment and what we can expect as a new team member?</a:t>
            </a:r>
          </a:p>
          <a:p>
            <a:pPr marL="285750" indent="-285750" algn="just">
              <a:buFont typeface="Arial" panose="020B0604020202020204" pitchFamily="34" charset="0"/>
              <a:buChar char="•"/>
            </a:pPr>
            <a:endParaRPr lang="en-US" sz="1200"/>
          </a:p>
          <a:p>
            <a:pPr marL="285750" indent="-285750" algn="just">
              <a:buFont typeface="Arial" panose="020B0604020202020204" pitchFamily="34" charset="0"/>
              <a:buChar char="•"/>
            </a:pPr>
            <a:endParaRPr lang="en-US" sz="1200"/>
          </a:p>
        </p:txBody>
      </p:sp>
      <p:sp>
        <p:nvSpPr>
          <p:cNvPr id="3" name="TextBox 2">
            <a:extLst>
              <a:ext uri="{FF2B5EF4-FFF2-40B4-BE49-F238E27FC236}">
                <a16:creationId xmlns:a16="http://schemas.microsoft.com/office/drawing/2014/main" id="{AEAFE2EF-D9DB-3FBD-D696-04EC799FBE3D}"/>
              </a:ext>
            </a:extLst>
          </p:cNvPr>
          <p:cNvSpPr txBox="1"/>
          <p:nvPr/>
        </p:nvSpPr>
        <p:spPr>
          <a:xfrm>
            <a:off x="4569429" y="1158871"/>
            <a:ext cx="3758249" cy="3231654"/>
          </a:xfrm>
          <a:prstGeom prst="rect">
            <a:avLst/>
          </a:prstGeom>
          <a:noFill/>
        </p:spPr>
        <p:txBody>
          <a:bodyPr wrap="square" lIns="91440" tIns="45720" rIns="91440" bIns="45720" rtlCol="0" anchor="t">
            <a:spAutoFit/>
          </a:bodyPr>
          <a:lstStyle/>
          <a:p>
            <a:pPr marL="285750" indent="-285750" algn="just">
              <a:buFont typeface="Arial,Sans-Serif" panose="020B0604020202020204" pitchFamily="34" charset="0"/>
              <a:buChar char="•"/>
            </a:pPr>
            <a:r>
              <a:rPr lang="en-US" sz="1200">
                <a:latin typeface="Futura PT Light (Body)"/>
                <a:cs typeface="Arial"/>
              </a:rPr>
              <a:t>I read a bit about </a:t>
            </a:r>
            <a:r>
              <a:rPr lang="en-US" sz="1200" b="1" i="1">
                <a:latin typeface="Futura PT Light (Body)"/>
                <a:cs typeface="Arial"/>
              </a:rPr>
              <a:t>ABC</a:t>
            </a:r>
            <a:r>
              <a:rPr lang="en-US" sz="1200">
                <a:latin typeface="Futura PT Light (Body)"/>
                <a:cs typeface="Arial"/>
              </a:rPr>
              <a:t> Business Unit and was curious about </a:t>
            </a:r>
            <a:r>
              <a:rPr lang="en-US" sz="1200" b="1" i="1">
                <a:latin typeface="Futura PT Light (Body)"/>
                <a:cs typeface="Arial"/>
              </a:rPr>
              <a:t>XYZ</a:t>
            </a:r>
            <a:r>
              <a:rPr lang="en-US" sz="1200">
                <a:latin typeface="Futura PT Light (Body)"/>
                <a:cs typeface="Arial"/>
              </a:rPr>
              <a:t> impact on the team, can you expand on that? </a:t>
            </a:r>
          </a:p>
          <a:p>
            <a:pPr marL="285750" indent="-285750" algn="just">
              <a:buFont typeface="Arial,Sans-Serif" panose="020B0604020202020204" pitchFamily="34" charset="0"/>
              <a:buChar char="•"/>
            </a:pPr>
            <a:r>
              <a:rPr lang="en-US" sz="1200">
                <a:latin typeface="Futura PT Light (Body)"/>
                <a:cs typeface="Arial"/>
              </a:rPr>
              <a:t>What can best prepare us between if we are selected to join and being onboarded? What would you recommend us looking into?</a:t>
            </a:r>
            <a:endParaRPr lang="en-US" sz="1200">
              <a:latin typeface="Futura PT Light (Body)"/>
            </a:endParaRPr>
          </a:p>
          <a:p>
            <a:pPr marL="285750" indent="-285750" algn="just">
              <a:buFont typeface="Arial,Sans-Serif" panose="020B0604020202020204" pitchFamily="34" charset="0"/>
              <a:buChar char="•"/>
            </a:pPr>
            <a:r>
              <a:rPr lang="en-US" sz="1200">
                <a:latin typeface="Futura PT Light (Body)"/>
              </a:rPr>
              <a:t>What advice would you give to someone new to the Team like myself, in order to be successful? </a:t>
            </a:r>
          </a:p>
          <a:p>
            <a:pPr marL="285750" indent="-285750" algn="just">
              <a:buFont typeface="Arial" panose="020B0604020202020204" pitchFamily="34" charset="0"/>
              <a:buChar char="•"/>
            </a:pPr>
            <a:r>
              <a:rPr lang="en-US" sz="1200">
                <a:latin typeface="Futura PT Light (Body)"/>
              </a:rPr>
              <a:t>Can you share any tips that you feel we should adopt on day one?</a:t>
            </a:r>
          </a:p>
          <a:p>
            <a:pPr marL="285750" indent="-285750" algn="just">
              <a:buFont typeface="Arial" panose="020B0604020202020204" pitchFamily="34" charset="0"/>
              <a:buChar char="•"/>
            </a:pPr>
            <a:r>
              <a:rPr lang="en-US" sz="1200">
                <a:latin typeface="Futura PT Light (Body)"/>
              </a:rPr>
              <a:t>What sort of project documentation exists? </a:t>
            </a:r>
          </a:p>
          <a:p>
            <a:pPr marL="285750" indent="-285750" algn="just">
              <a:buFont typeface="Arial" panose="020B0604020202020204" pitchFamily="34" charset="0"/>
              <a:buChar char="•"/>
            </a:pPr>
            <a:r>
              <a:rPr lang="en-US" sz="1200">
                <a:latin typeface="Futura PT Light (Body)"/>
              </a:rPr>
              <a:t>Where do you see the company grow in the next 5 years and is there anything we can do to align ourselves for that? </a:t>
            </a:r>
          </a:p>
          <a:p>
            <a:pPr marL="285750" indent="-285750" algn="just">
              <a:buFont typeface="Arial" panose="020B0604020202020204" pitchFamily="34" charset="0"/>
              <a:buChar char="•"/>
            </a:pPr>
            <a:endParaRPr lang="en-US" sz="1200">
              <a:latin typeface="Futura PT Light (Body)"/>
            </a:endParaRPr>
          </a:p>
        </p:txBody>
      </p:sp>
    </p:spTree>
    <p:extLst>
      <p:ext uri="{BB962C8B-B14F-4D97-AF65-F5344CB8AC3E}">
        <p14:creationId xmlns:p14="http://schemas.microsoft.com/office/powerpoint/2010/main" val="175248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5B2F1-8BAB-76E1-308C-B12C8FBC5687}"/>
              </a:ext>
            </a:extLst>
          </p:cNvPr>
          <p:cNvSpPr>
            <a:spLocks noGrp="1"/>
          </p:cNvSpPr>
          <p:nvPr>
            <p:ph type="title"/>
          </p:nvPr>
        </p:nvSpPr>
        <p:spPr/>
        <p:txBody>
          <a:bodyPr/>
          <a:lstStyle/>
          <a:p>
            <a:r>
              <a:rPr lang="en-US" sz="2800">
                <a:solidFill>
                  <a:srgbClr val="FF7014"/>
                </a:solidFill>
                <a:latin typeface="Arial" panose="020B0604020202020204" pitchFamily="34" charset="0"/>
                <a:cs typeface="Arial" panose="020B0604020202020204" pitchFamily="34" charset="0"/>
              </a:rPr>
              <a:t>Global Company…</a:t>
            </a:r>
            <a:endParaRPr lang="en-US">
              <a:latin typeface="Arial" panose="020B0604020202020204" pitchFamily="34" charset="0"/>
              <a:cs typeface="Arial" panose="020B0604020202020204" pitchFamily="34" charset="0"/>
            </a:endParaRPr>
          </a:p>
        </p:txBody>
      </p:sp>
      <p:sp>
        <p:nvSpPr>
          <p:cNvPr id="166" name="Rectangle 165">
            <a:extLst>
              <a:ext uri="{FF2B5EF4-FFF2-40B4-BE49-F238E27FC236}">
                <a16:creationId xmlns:a16="http://schemas.microsoft.com/office/drawing/2014/main" id="{DB61C20B-6665-84B3-32D3-371EF7686E71}"/>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1" name="Freeform 69">
            <a:extLst>
              <a:ext uri="{FF2B5EF4-FFF2-40B4-BE49-F238E27FC236}">
                <a16:creationId xmlns:a16="http://schemas.microsoft.com/office/drawing/2014/main" id="{39F1F943-63C8-F9FB-A372-65BB579B7E2B}"/>
              </a:ext>
            </a:extLst>
          </p:cNvPr>
          <p:cNvSpPr/>
          <p:nvPr/>
        </p:nvSpPr>
        <p:spPr>
          <a:xfrm flipH="1">
            <a:off x="5666382" y="506879"/>
            <a:ext cx="1" cy="4262049"/>
          </a:xfrm>
          <a:prstGeom prst="line">
            <a:avLst/>
          </a:prstGeom>
          <a:ln w="38100" cap="rnd">
            <a:solidFill>
              <a:srgbClr val="FFFFFF"/>
            </a:solidFill>
            <a:custDash>
              <a:ds d="100000" sp="200000"/>
            </a:custDash>
            <a:headEnd type="oval"/>
            <a:tailEnd type="oval"/>
          </a:ln>
        </p:spPr>
        <p:txBody>
          <a:bodyPr tIns="91439" bIns="91439"/>
          <a:lstStyle/>
          <a:p>
            <a:pPr algn="ctr" defTabSz="1828800">
              <a:defRPr sz="3600" b="0">
                <a:latin typeface="Calibri"/>
                <a:ea typeface="Calibri"/>
                <a:cs typeface="Calibri"/>
                <a:sym typeface="Calibri"/>
              </a:defRPr>
            </a:pPr>
            <a:endParaRPr/>
          </a:p>
        </p:txBody>
      </p:sp>
      <p:pic>
        <p:nvPicPr>
          <p:cNvPr id="6" name="object 3">
            <a:extLst>
              <a:ext uri="{FF2B5EF4-FFF2-40B4-BE49-F238E27FC236}">
                <a16:creationId xmlns:a16="http://schemas.microsoft.com/office/drawing/2014/main" id="{4B469419-104D-F691-4577-D03EADB38CBC}"/>
              </a:ext>
            </a:extLst>
          </p:cNvPr>
          <p:cNvPicPr/>
          <p:nvPr/>
        </p:nvPicPr>
        <p:blipFill>
          <a:blip r:embed="rId2" cstate="print"/>
          <a:stretch>
            <a:fillRect/>
          </a:stretch>
        </p:blipFill>
        <p:spPr>
          <a:xfrm>
            <a:off x="291040" y="1727513"/>
            <a:ext cx="5102467" cy="2677614"/>
          </a:xfrm>
          <a:prstGeom prst="rect">
            <a:avLst/>
          </a:prstGeom>
        </p:spPr>
      </p:pic>
      <p:sp>
        <p:nvSpPr>
          <p:cNvPr id="3" name="TextBox 2">
            <a:extLst>
              <a:ext uri="{FF2B5EF4-FFF2-40B4-BE49-F238E27FC236}">
                <a16:creationId xmlns:a16="http://schemas.microsoft.com/office/drawing/2014/main" id="{3DEA6C01-2507-6723-031C-9E1B57358CF6}"/>
              </a:ext>
            </a:extLst>
          </p:cNvPr>
          <p:cNvSpPr txBox="1"/>
          <p:nvPr/>
        </p:nvSpPr>
        <p:spPr>
          <a:xfrm>
            <a:off x="416259" y="960378"/>
            <a:ext cx="4644324" cy="628377"/>
          </a:xfrm>
          <a:prstGeom prst="rect">
            <a:avLst/>
          </a:prstGeom>
          <a:noFill/>
        </p:spPr>
        <p:txBody>
          <a:bodyPr wrap="square" rtlCol="0">
            <a:spAutoFit/>
          </a:bodyPr>
          <a:lstStyle/>
          <a:p>
            <a:pPr marL="9525" algn="ctr">
              <a:spcBef>
                <a:spcPts val="75"/>
              </a:spcBef>
            </a:pPr>
            <a:r>
              <a:rPr lang="en-US" sz="1700">
                <a:solidFill>
                  <a:srgbClr val="585858"/>
                </a:solidFill>
                <a:latin typeface="Arial" panose="020B0604020202020204" pitchFamily="34" charset="0"/>
                <a:cs typeface="Arial" panose="020B0604020202020204" pitchFamily="34" charset="0"/>
              </a:rPr>
              <a:t>A</a:t>
            </a:r>
            <a:r>
              <a:rPr lang="en-US" sz="1700" spc="-98">
                <a:solidFill>
                  <a:srgbClr val="585858"/>
                </a:solidFill>
                <a:latin typeface="Arial" panose="020B0604020202020204" pitchFamily="34" charset="0"/>
                <a:cs typeface="Arial" panose="020B0604020202020204" pitchFamily="34" charset="0"/>
              </a:rPr>
              <a:t> </a:t>
            </a:r>
            <a:r>
              <a:rPr lang="en-US" sz="1700">
                <a:solidFill>
                  <a:srgbClr val="585858"/>
                </a:solidFill>
                <a:latin typeface="Arial" panose="020B0604020202020204" pitchFamily="34" charset="0"/>
                <a:cs typeface="Arial" panose="020B0604020202020204" pitchFamily="34" charset="0"/>
              </a:rPr>
              <a:t>global</a:t>
            </a:r>
            <a:r>
              <a:rPr lang="en-US" sz="1700" spc="19">
                <a:solidFill>
                  <a:srgbClr val="585858"/>
                </a:solidFill>
                <a:latin typeface="Arial" panose="020B0604020202020204" pitchFamily="34" charset="0"/>
                <a:cs typeface="Arial" panose="020B0604020202020204" pitchFamily="34" charset="0"/>
              </a:rPr>
              <a:t> </a:t>
            </a:r>
            <a:r>
              <a:rPr lang="en-US" sz="1700" spc="-8">
                <a:solidFill>
                  <a:srgbClr val="585858"/>
                </a:solidFill>
                <a:latin typeface="Arial" panose="020B0604020202020204" pitchFamily="34" charset="0"/>
                <a:cs typeface="Arial" panose="020B0604020202020204" pitchFamily="34" charset="0"/>
              </a:rPr>
              <a:t>company </a:t>
            </a:r>
            <a:r>
              <a:rPr lang="en-US" sz="1700">
                <a:solidFill>
                  <a:srgbClr val="585858"/>
                </a:solidFill>
                <a:latin typeface="Arial" panose="020B0604020202020204" pitchFamily="34" charset="0"/>
                <a:cs typeface="Arial" panose="020B0604020202020204" pitchFamily="34" charset="0"/>
              </a:rPr>
              <a:t>with</a:t>
            </a:r>
            <a:r>
              <a:rPr lang="en-US" sz="1700" spc="8">
                <a:solidFill>
                  <a:srgbClr val="585858"/>
                </a:solidFill>
                <a:latin typeface="Arial" panose="020B0604020202020204" pitchFamily="34" charset="0"/>
                <a:cs typeface="Arial" panose="020B0604020202020204" pitchFamily="34" charset="0"/>
              </a:rPr>
              <a:t> </a:t>
            </a:r>
            <a:r>
              <a:rPr lang="en-US" sz="1700">
                <a:solidFill>
                  <a:srgbClr val="585858"/>
                </a:solidFill>
                <a:latin typeface="Arial" panose="020B0604020202020204" pitchFamily="34" charset="0"/>
                <a:cs typeface="Arial" panose="020B0604020202020204" pitchFamily="34" charset="0"/>
              </a:rPr>
              <a:t>presence</a:t>
            </a:r>
            <a:r>
              <a:rPr lang="en-US" sz="1700" spc="4">
                <a:solidFill>
                  <a:srgbClr val="585858"/>
                </a:solidFill>
                <a:latin typeface="Arial" panose="020B0604020202020204" pitchFamily="34" charset="0"/>
                <a:cs typeface="Arial" panose="020B0604020202020204" pitchFamily="34" charset="0"/>
              </a:rPr>
              <a:t> </a:t>
            </a:r>
          </a:p>
          <a:p>
            <a:pPr marL="9525" algn="ctr">
              <a:spcBef>
                <a:spcPts val="75"/>
              </a:spcBef>
            </a:pPr>
            <a:r>
              <a:rPr lang="en-US" sz="1700">
                <a:solidFill>
                  <a:srgbClr val="585858"/>
                </a:solidFill>
                <a:latin typeface="Arial" panose="020B0604020202020204" pitchFamily="34" charset="0"/>
                <a:cs typeface="Arial" panose="020B0604020202020204" pitchFamily="34" charset="0"/>
              </a:rPr>
              <a:t>in</a:t>
            </a:r>
            <a:r>
              <a:rPr lang="en-US" sz="1700" spc="4">
                <a:solidFill>
                  <a:srgbClr val="585858"/>
                </a:solidFill>
                <a:latin typeface="Arial" panose="020B0604020202020204" pitchFamily="34" charset="0"/>
                <a:cs typeface="Arial" panose="020B0604020202020204" pitchFamily="34" charset="0"/>
              </a:rPr>
              <a:t> </a:t>
            </a:r>
            <a:r>
              <a:rPr lang="en-US" sz="1700" b="1" spc="-19">
                <a:solidFill>
                  <a:srgbClr val="FF7014"/>
                </a:solidFill>
                <a:latin typeface="Arial" panose="020B0604020202020204" pitchFamily="34" charset="0"/>
                <a:cs typeface="Arial" panose="020B0604020202020204" pitchFamily="34" charset="0"/>
              </a:rPr>
              <a:t>50+</a:t>
            </a:r>
            <a:r>
              <a:rPr lang="en-US" sz="1700" b="1" spc="-139">
                <a:solidFill>
                  <a:srgbClr val="585858"/>
                </a:solidFill>
                <a:latin typeface="Arial" panose="020B0604020202020204" pitchFamily="34" charset="0"/>
                <a:cs typeface="Arial" panose="020B0604020202020204" pitchFamily="34" charset="0"/>
              </a:rPr>
              <a:t> </a:t>
            </a:r>
            <a:r>
              <a:rPr lang="en-US" sz="1700" spc="-8">
                <a:solidFill>
                  <a:srgbClr val="585858"/>
                </a:solidFill>
                <a:latin typeface="Arial" panose="020B0604020202020204" pitchFamily="34" charset="0"/>
                <a:cs typeface="Arial" panose="020B0604020202020204" pitchFamily="34" charset="0"/>
              </a:rPr>
              <a:t>countries</a:t>
            </a:r>
            <a:endParaRPr lang="en-US" sz="1700">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B45729EC-A110-CDE1-F8AB-82793A24A374}"/>
              </a:ext>
            </a:extLst>
          </p:cNvPr>
          <p:cNvGrpSpPr/>
          <p:nvPr/>
        </p:nvGrpSpPr>
        <p:grpSpPr>
          <a:xfrm>
            <a:off x="6819828" y="1760919"/>
            <a:ext cx="2050122" cy="347690"/>
            <a:chOff x="6819828" y="1760919"/>
            <a:chExt cx="2050122" cy="347690"/>
          </a:xfrm>
        </p:grpSpPr>
        <p:sp>
          <p:nvSpPr>
            <p:cNvPr id="10" name="object 4">
              <a:extLst>
                <a:ext uri="{FF2B5EF4-FFF2-40B4-BE49-F238E27FC236}">
                  <a16:creationId xmlns:a16="http://schemas.microsoft.com/office/drawing/2014/main" id="{727DFCD9-85FD-6ABD-23FD-DEA24EA096C5}"/>
                </a:ext>
              </a:extLst>
            </p:cNvPr>
            <p:cNvSpPr/>
            <p:nvPr/>
          </p:nvSpPr>
          <p:spPr>
            <a:xfrm>
              <a:off x="6819828" y="1760919"/>
              <a:ext cx="2050122" cy="347690"/>
            </a:xfrm>
            <a:prstGeom prst="round2DiagRect">
              <a:avLst>
                <a:gd name="adj1" fmla="val 37141"/>
                <a:gd name="adj2" fmla="val 0"/>
              </a:avLst>
            </a:prstGeom>
            <a:solidFill>
              <a:srgbClr val="FF7014"/>
            </a:solidFill>
          </p:spPr>
          <p:txBody>
            <a:bodyPr wrap="square" lIns="0" tIns="0" rIns="0" bIns="0" rtlCol="0"/>
            <a:lstStyle/>
            <a:p>
              <a:endParaRPr/>
            </a:p>
          </p:txBody>
        </p:sp>
        <p:sp>
          <p:nvSpPr>
            <p:cNvPr id="11" name="object 5">
              <a:extLst>
                <a:ext uri="{FF2B5EF4-FFF2-40B4-BE49-F238E27FC236}">
                  <a16:creationId xmlns:a16="http://schemas.microsoft.com/office/drawing/2014/main" id="{972FBF16-2D33-FA5A-3D10-426B57C45096}"/>
                </a:ext>
              </a:extLst>
            </p:cNvPr>
            <p:cNvSpPr txBox="1"/>
            <p:nvPr/>
          </p:nvSpPr>
          <p:spPr>
            <a:xfrm>
              <a:off x="6915310" y="1812140"/>
              <a:ext cx="846037" cy="228268"/>
            </a:xfrm>
            <a:prstGeom prst="rect">
              <a:avLst/>
            </a:prstGeom>
          </p:spPr>
          <p:txBody>
            <a:bodyPr vert="horz" wrap="square" lIns="0" tIns="12700" rIns="0" bIns="0" rtlCol="0">
              <a:spAutoFit/>
            </a:bodyPr>
            <a:lstStyle/>
            <a:p>
              <a:pPr marL="12700">
                <a:lnSpc>
                  <a:spcPct val="100000"/>
                </a:lnSpc>
                <a:spcBef>
                  <a:spcPts val="100"/>
                </a:spcBef>
              </a:pPr>
              <a:r>
                <a:rPr sz="1400" b="1" spc="-10">
                  <a:solidFill>
                    <a:srgbClr val="FFFFFF"/>
                  </a:solidFill>
                  <a:latin typeface="Arial" panose="020B0604020202020204" pitchFamily="34" charset="0"/>
                  <a:cs typeface="Arial" panose="020B0604020202020204" pitchFamily="34" charset="0"/>
                </a:rPr>
                <a:t>61.4%</a:t>
              </a:r>
              <a:endParaRPr sz="1400">
                <a:latin typeface="Arial" panose="020B0604020202020204" pitchFamily="34" charset="0"/>
                <a:cs typeface="Arial" panose="020B0604020202020204" pitchFamily="34" charset="0"/>
              </a:endParaRPr>
            </a:p>
          </p:txBody>
        </p:sp>
      </p:grpSp>
      <p:sp>
        <p:nvSpPr>
          <p:cNvPr id="18" name="object 12">
            <a:extLst>
              <a:ext uri="{FF2B5EF4-FFF2-40B4-BE49-F238E27FC236}">
                <a16:creationId xmlns:a16="http://schemas.microsoft.com/office/drawing/2014/main" id="{70ED079D-8311-E1CC-C60E-DB48602C7872}"/>
              </a:ext>
            </a:extLst>
          </p:cNvPr>
          <p:cNvSpPr txBox="1"/>
          <p:nvPr/>
        </p:nvSpPr>
        <p:spPr>
          <a:xfrm>
            <a:off x="5426139" y="1820951"/>
            <a:ext cx="1238228" cy="227626"/>
          </a:xfrm>
          <a:prstGeom prst="rect">
            <a:avLst/>
          </a:prstGeom>
        </p:spPr>
        <p:txBody>
          <a:bodyPr vert="horz" wrap="square" lIns="0" tIns="12065" rIns="0" bIns="0" rtlCol="0">
            <a:spAutoFit/>
          </a:bodyPr>
          <a:lstStyle/>
          <a:p>
            <a:pPr marL="12700" algn="r">
              <a:lnSpc>
                <a:spcPct val="100000"/>
              </a:lnSpc>
              <a:spcBef>
                <a:spcPts val="95"/>
              </a:spcBef>
            </a:pPr>
            <a:r>
              <a:rPr sz="1400" b="1" spc="-10">
                <a:solidFill>
                  <a:srgbClr val="585858"/>
                </a:solidFill>
                <a:latin typeface="Arial" panose="020B0604020202020204" pitchFamily="34" charset="0"/>
                <a:cs typeface="Arial" panose="020B0604020202020204" pitchFamily="34" charset="0"/>
              </a:rPr>
              <a:t>North</a:t>
            </a:r>
            <a:r>
              <a:rPr sz="1400" b="1" spc="-65">
                <a:solidFill>
                  <a:srgbClr val="585858"/>
                </a:solidFill>
                <a:latin typeface="Arial" panose="020B0604020202020204" pitchFamily="34" charset="0"/>
                <a:cs typeface="Arial" panose="020B0604020202020204" pitchFamily="34" charset="0"/>
              </a:rPr>
              <a:t> </a:t>
            </a:r>
            <a:r>
              <a:rPr sz="1400" b="1" spc="-10">
                <a:solidFill>
                  <a:srgbClr val="585858"/>
                </a:solidFill>
                <a:latin typeface="Arial" panose="020B0604020202020204" pitchFamily="34" charset="0"/>
                <a:cs typeface="Arial" panose="020B0604020202020204" pitchFamily="34" charset="0"/>
              </a:rPr>
              <a:t>America</a:t>
            </a:r>
            <a:endParaRPr sz="1400" b="1">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2B66C477-BCDA-F0F1-9987-FC90EFD81084}"/>
              </a:ext>
            </a:extLst>
          </p:cNvPr>
          <p:cNvGrpSpPr/>
          <p:nvPr/>
        </p:nvGrpSpPr>
        <p:grpSpPr>
          <a:xfrm>
            <a:off x="5426139" y="2273875"/>
            <a:ext cx="2766283" cy="347690"/>
            <a:chOff x="5426139" y="2281309"/>
            <a:chExt cx="2766283" cy="347690"/>
          </a:xfrm>
        </p:grpSpPr>
        <p:sp>
          <p:nvSpPr>
            <p:cNvPr id="25" name="object 4">
              <a:extLst>
                <a:ext uri="{FF2B5EF4-FFF2-40B4-BE49-F238E27FC236}">
                  <a16:creationId xmlns:a16="http://schemas.microsoft.com/office/drawing/2014/main" id="{F1B164C9-6300-245B-7754-1538306EB95A}"/>
                </a:ext>
              </a:extLst>
            </p:cNvPr>
            <p:cNvSpPr/>
            <p:nvPr/>
          </p:nvSpPr>
          <p:spPr>
            <a:xfrm>
              <a:off x="6819827" y="2281309"/>
              <a:ext cx="1372595" cy="347690"/>
            </a:xfrm>
            <a:prstGeom prst="round2DiagRect">
              <a:avLst>
                <a:gd name="adj1" fmla="val 37141"/>
                <a:gd name="adj2" fmla="val 0"/>
              </a:avLst>
            </a:prstGeom>
            <a:solidFill>
              <a:srgbClr val="0741CB"/>
            </a:solidFill>
          </p:spPr>
          <p:txBody>
            <a:bodyPr wrap="square" lIns="0" tIns="0" rIns="0" bIns="0" rtlCol="0"/>
            <a:lstStyle/>
            <a:p>
              <a:endParaRPr/>
            </a:p>
          </p:txBody>
        </p:sp>
        <p:sp>
          <p:nvSpPr>
            <p:cNvPr id="26" name="object 5">
              <a:extLst>
                <a:ext uri="{FF2B5EF4-FFF2-40B4-BE49-F238E27FC236}">
                  <a16:creationId xmlns:a16="http://schemas.microsoft.com/office/drawing/2014/main" id="{2234CEBB-4690-7C42-03F6-EA31741A0211}"/>
                </a:ext>
              </a:extLst>
            </p:cNvPr>
            <p:cNvSpPr txBox="1"/>
            <p:nvPr/>
          </p:nvSpPr>
          <p:spPr>
            <a:xfrm>
              <a:off x="6915310" y="2332530"/>
              <a:ext cx="846037" cy="228268"/>
            </a:xfrm>
            <a:prstGeom prst="rect">
              <a:avLst/>
            </a:prstGeom>
          </p:spPr>
          <p:txBody>
            <a:bodyPr vert="horz" wrap="square" lIns="0" tIns="12700" rIns="0" bIns="0" rtlCol="0">
              <a:spAutoFit/>
            </a:bodyPr>
            <a:lstStyle/>
            <a:p>
              <a:pPr marL="12700">
                <a:lnSpc>
                  <a:spcPct val="100000"/>
                </a:lnSpc>
                <a:spcBef>
                  <a:spcPts val="100"/>
                </a:spcBef>
              </a:pPr>
              <a:r>
                <a:rPr lang="en-US" sz="1400" b="1" spc="-10">
                  <a:solidFill>
                    <a:srgbClr val="FFFFFF"/>
                  </a:solidFill>
                  <a:latin typeface="Arial" panose="020B0604020202020204" pitchFamily="34" charset="0"/>
                  <a:cs typeface="Arial" panose="020B0604020202020204" pitchFamily="34" charset="0"/>
                </a:rPr>
                <a:t>25.2%</a:t>
              </a:r>
              <a:endParaRPr sz="1400">
                <a:latin typeface="Arial" panose="020B0604020202020204" pitchFamily="34" charset="0"/>
                <a:cs typeface="Arial" panose="020B0604020202020204" pitchFamily="34" charset="0"/>
              </a:endParaRPr>
            </a:p>
          </p:txBody>
        </p:sp>
        <p:sp>
          <p:nvSpPr>
            <p:cNvPr id="27" name="object 12">
              <a:extLst>
                <a:ext uri="{FF2B5EF4-FFF2-40B4-BE49-F238E27FC236}">
                  <a16:creationId xmlns:a16="http://schemas.microsoft.com/office/drawing/2014/main" id="{36098480-A482-B0A8-E962-A106B270BF54}"/>
                </a:ext>
              </a:extLst>
            </p:cNvPr>
            <p:cNvSpPr txBox="1"/>
            <p:nvPr/>
          </p:nvSpPr>
          <p:spPr>
            <a:xfrm>
              <a:off x="5426139" y="2348775"/>
              <a:ext cx="1238228" cy="227626"/>
            </a:xfrm>
            <a:prstGeom prst="rect">
              <a:avLst/>
            </a:prstGeom>
          </p:spPr>
          <p:txBody>
            <a:bodyPr vert="horz" wrap="square" lIns="0" tIns="12065" rIns="0" bIns="0" rtlCol="0">
              <a:spAutoFit/>
            </a:bodyPr>
            <a:lstStyle/>
            <a:p>
              <a:pPr marL="12700" algn="r">
                <a:lnSpc>
                  <a:spcPct val="100000"/>
                </a:lnSpc>
                <a:spcBef>
                  <a:spcPts val="95"/>
                </a:spcBef>
              </a:pPr>
              <a:r>
                <a:rPr lang="en-US" sz="1400" b="1" spc="-10">
                  <a:solidFill>
                    <a:srgbClr val="585858"/>
                  </a:solidFill>
                  <a:latin typeface="Arial" panose="020B0604020202020204" pitchFamily="34" charset="0"/>
                  <a:cs typeface="Arial" panose="020B0604020202020204" pitchFamily="34" charset="0"/>
                </a:rPr>
                <a:t>Europe</a:t>
              </a:r>
              <a:endParaRPr sz="1400" b="1">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86492AB7-8FB9-815A-1FBE-5B0BEA433021}"/>
              </a:ext>
            </a:extLst>
          </p:cNvPr>
          <p:cNvGrpSpPr/>
          <p:nvPr/>
        </p:nvGrpSpPr>
        <p:grpSpPr>
          <a:xfrm>
            <a:off x="5426139" y="2786831"/>
            <a:ext cx="2394581" cy="347690"/>
            <a:chOff x="5426139" y="2771963"/>
            <a:chExt cx="2394581" cy="347690"/>
          </a:xfrm>
        </p:grpSpPr>
        <p:sp>
          <p:nvSpPr>
            <p:cNvPr id="28" name="object 12">
              <a:extLst>
                <a:ext uri="{FF2B5EF4-FFF2-40B4-BE49-F238E27FC236}">
                  <a16:creationId xmlns:a16="http://schemas.microsoft.com/office/drawing/2014/main" id="{E17C2743-7689-1F17-13F3-7A98377EFA8B}"/>
                </a:ext>
              </a:extLst>
            </p:cNvPr>
            <p:cNvSpPr txBox="1"/>
            <p:nvPr/>
          </p:nvSpPr>
          <p:spPr>
            <a:xfrm>
              <a:off x="5426139" y="2854297"/>
              <a:ext cx="1238228" cy="227626"/>
            </a:xfrm>
            <a:prstGeom prst="rect">
              <a:avLst/>
            </a:prstGeom>
          </p:spPr>
          <p:txBody>
            <a:bodyPr vert="horz" wrap="square" lIns="0" tIns="12065" rIns="0" bIns="0" rtlCol="0">
              <a:spAutoFit/>
            </a:bodyPr>
            <a:lstStyle/>
            <a:p>
              <a:pPr marL="12700" algn="r">
                <a:lnSpc>
                  <a:spcPct val="100000"/>
                </a:lnSpc>
                <a:spcBef>
                  <a:spcPts val="95"/>
                </a:spcBef>
              </a:pPr>
              <a:r>
                <a:rPr lang="en-US" sz="1400" b="1" spc="-10">
                  <a:solidFill>
                    <a:srgbClr val="585858"/>
                  </a:solidFill>
                  <a:latin typeface="Arial" panose="020B0604020202020204" pitchFamily="34" charset="0"/>
                  <a:cs typeface="Arial" panose="020B0604020202020204" pitchFamily="34" charset="0"/>
                </a:rPr>
                <a:t>Rest of World</a:t>
              </a:r>
              <a:endParaRPr sz="1400" b="1">
                <a:latin typeface="Arial" panose="020B0604020202020204" pitchFamily="34" charset="0"/>
                <a:cs typeface="Arial" panose="020B0604020202020204" pitchFamily="34" charset="0"/>
              </a:endParaRPr>
            </a:p>
          </p:txBody>
        </p:sp>
        <p:sp>
          <p:nvSpPr>
            <p:cNvPr id="29" name="object 4">
              <a:extLst>
                <a:ext uri="{FF2B5EF4-FFF2-40B4-BE49-F238E27FC236}">
                  <a16:creationId xmlns:a16="http://schemas.microsoft.com/office/drawing/2014/main" id="{38E50DBC-9A57-4E0D-1747-C0BA51291432}"/>
                </a:ext>
              </a:extLst>
            </p:cNvPr>
            <p:cNvSpPr/>
            <p:nvPr/>
          </p:nvSpPr>
          <p:spPr>
            <a:xfrm>
              <a:off x="6819827" y="2771963"/>
              <a:ext cx="1000893" cy="347690"/>
            </a:xfrm>
            <a:prstGeom prst="round2DiagRect">
              <a:avLst>
                <a:gd name="adj1" fmla="val 37141"/>
                <a:gd name="adj2" fmla="val 0"/>
              </a:avLst>
            </a:prstGeom>
            <a:solidFill>
              <a:srgbClr val="099C45"/>
            </a:solidFill>
          </p:spPr>
          <p:txBody>
            <a:bodyPr wrap="square" lIns="0" tIns="0" rIns="0" bIns="0" rtlCol="0"/>
            <a:lstStyle/>
            <a:p>
              <a:endParaRPr/>
            </a:p>
          </p:txBody>
        </p:sp>
        <p:sp>
          <p:nvSpPr>
            <p:cNvPr id="30" name="object 5">
              <a:extLst>
                <a:ext uri="{FF2B5EF4-FFF2-40B4-BE49-F238E27FC236}">
                  <a16:creationId xmlns:a16="http://schemas.microsoft.com/office/drawing/2014/main" id="{EF1280C1-AD63-672D-0007-7620B6219254}"/>
                </a:ext>
              </a:extLst>
            </p:cNvPr>
            <p:cNvSpPr txBox="1"/>
            <p:nvPr/>
          </p:nvSpPr>
          <p:spPr>
            <a:xfrm>
              <a:off x="6915310" y="2823184"/>
              <a:ext cx="846037" cy="228268"/>
            </a:xfrm>
            <a:prstGeom prst="rect">
              <a:avLst/>
            </a:prstGeom>
          </p:spPr>
          <p:txBody>
            <a:bodyPr vert="horz" wrap="square" lIns="0" tIns="12700" rIns="0" bIns="0" rtlCol="0">
              <a:spAutoFit/>
            </a:bodyPr>
            <a:lstStyle/>
            <a:p>
              <a:pPr marL="12700">
                <a:lnSpc>
                  <a:spcPct val="100000"/>
                </a:lnSpc>
                <a:spcBef>
                  <a:spcPts val="100"/>
                </a:spcBef>
              </a:pPr>
              <a:r>
                <a:rPr lang="en-US" sz="1400" b="1" spc="-10">
                  <a:solidFill>
                    <a:srgbClr val="FFFFFF"/>
                  </a:solidFill>
                  <a:latin typeface="Arial" panose="020B0604020202020204" pitchFamily="34" charset="0"/>
                  <a:cs typeface="Arial" panose="020B0604020202020204" pitchFamily="34" charset="0"/>
                </a:rPr>
                <a:t>10.2</a:t>
              </a:r>
              <a:r>
                <a:rPr lang="en-US" sz="1400" b="1" spc="-10">
                  <a:solidFill>
                    <a:srgbClr val="FFFFFF"/>
                  </a:solidFill>
                  <a:latin typeface="Apercu Medium" panose="02000606040000020004" pitchFamily="50" charset="0"/>
                  <a:cs typeface="Arial Narrow"/>
                </a:rPr>
                <a:t>%</a:t>
              </a:r>
              <a:endParaRPr sz="1400">
                <a:latin typeface="Apercu Medium" panose="02000606040000020004" pitchFamily="50" charset="0"/>
                <a:cs typeface="Arial Narrow"/>
              </a:endParaRPr>
            </a:p>
          </p:txBody>
        </p:sp>
      </p:grpSp>
      <p:grpSp>
        <p:nvGrpSpPr>
          <p:cNvPr id="34" name="Group 33">
            <a:extLst>
              <a:ext uri="{FF2B5EF4-FFF2-40B4-BE49-F238E27FC236}">
                <a16:creationId xmlns:a16="http://schemas.microsoft.com/office/drawing/2014/main" id="{8772A63A-578B-0573-8D6A-A0D59C70AC67}"/>
              </a:ext>
            </a:extLst>
          </p:cNvPr>
          <p:cNvGrpSpPr/>
          <p:nvPr/>
        </p:nvGrpSpPr>
        <p:grpSpPr>
          <a:xfrm>
            <a:off x="5426139" y="3299787"/>
            <a:ext cx="2030310" cy="347690"/>
            <a:chOff x="5426139" y="3299787"/>
            <a:chExt cx="2030310" cy="347690"/>
          </a:xfrm>
        </p:grpSpPr>
        <p:sp>
          <p:nvSpPr>
            <p:cNvPr id="31" name="object 12">
              <a:extLst>
                <a:ext uri="{FF2B5EF4-FFF2-40B4-BE49-F238E27FC236}">
                  <a16:creationId xmlns:a16="http://schemas.microsoft.com/office/drawing/2014/main" id="{6AD62E20-4758-930C-05C4-EB9AD7920583}"/>
                </a:ext>
              </a:extLst>
            </p:cNvPr>
            <p:cNvSpPr txBox="1"/>
            <p:nvPr/>
          </p:nvSpPr>
          <p:spPr>
            <a:xfrm>
              <a:off x="5426139" y="3382121"/>
              <a:ext cx="1238228" cy="227626"/>
            </a:xfrm>
            <a:prstGeom prst="rect">
              <a:avLst/>
            </a:prstGeom>
          </p:spPr>
          <p:txBody>
            <a:bodyPr vert="horz" wrap="square" lIns="0" tIns="12065" rIns="0" bIns="0" rtlCol="0">
              <a:spAutoFit/>
            </a:bodyPr>
            <a:lstStyle/>
            <a:p>
              <a:pPr marL="12700" algn="r">
                <a:lnSpc>
                  <a:spcPct val="100000"/>
                </a:lnSpc>
                <a:spcBef>
                  <a:spcPts val="95"/>
                </a:spcBef>
              </a:pPr>
              <a:r>
                <a:rPr lang="en-US" sz="1400" b="1" spc="-10">
                  <a:solidFill>
                    <a:srgbClr val="585858"/>
                  </a:solidFill>
                  <a:latin typeface="Arial" panose="020B0604020202020204" pitchFamily="34" charset="0"/>
                  <a:cs typeface="Arial" panose="020B0604020202020204" pitchFamily="34" charset="0"/>
                </a:rPr>
                <a:t>India</a:t>
              </a:r>
              <a:endParaRPr sz="1400" b="1">
                <a:latin typeface="Arial" panose="020B0604020202020204" pitchFamily="34" charset="0"/>
                <a:cs typeface="Arial" panose="020B0604020202020204" pitchFamily="34" charset="0"/>
              </a:endParaRPr>
            </a:p>
          </p:txBody>
        </p:sp>
        <p:sp>
          <p:nvSpPr>
            <p:cNvPr id="32" name="object 4">
              <a:extLst>
                <a:ext uri="{FF2B5EF4-FFF2-40B4-BE49-F238E27FC236}">
                  <a16:creationId xmlns:a16="http://schemas.microsoft.com/office/drawing/2014/main" id="{22806336-2A60-48F4-BE1E-9B6FD622B472}"/>
                </a:ext>
              </a:extLst>
            </p:cNvPr>
            <p:cNvSpPr/>
            <p:nvPr/>
          </p:nvSpPr>
          <p:spPr>
            <a:xfrm>
              <a:off x="6819828" y="3299787"/>
              <a:ext cx="636621" cy="347690"/>
            </a:xfrm>
            <a:prstGeom prst="round2DiagRect">
              <a:avLst>
                <a:gd name="adj1" fmla="val 37141"/>
                <a:gd name="adj2" fmla="val 0"/>
              </a:avLst>
            </a:prstGeom>
            <a:solidFill>
              <a:srgbClr val="FECF00"/>
            </a:solidFill>
          </p:spPr>
          <p:txBody>
            <a:bodyPr wrap="square" lIns="0" tIns="0" rIns="0" bIns="0" rtlCol="0"/>
            <a:lstStyle/>
            <a:p>
              <a:endParaRPr/>
            </a:p>
          </p:txBody>
        </p:sp>
        <p:sp>
          <p:nvSpPr>
            <p:cNvPr id="33" name="object 5">
              <a:extLst>
                <a:ext uri="{FF2B5EF4-FFF2-40B4-BE49-F238E27FC236}">
                  <a16:creationId xmlns:a16="http://schemas.microsoft.com/office/drawing/2014/main" id="{CB279372-2AA7-B8CE-0AAE-4D11E5A8BBCA}"/>
                </a:ext>
              </a:extLst>
            </p:cNvPr>
            <p:cNvSpPr txBox="1"/>
            <p:nvPr/>
          </p:nvSpPr>
          <p:spPr>
            <a:xfrm>
              <a:off x="6915310" y="3351008"/>
              <a:ext cx="541139" cy="228268"/>
            </a:xfrm>
            <a:prstGeom prst="rect">
              <a:avLst/>
            </a:prstGeom>
          </p:spPr>
          <p:txBody>
            <a:bodyPr vert="horz" wrap="square" lIns="0" tIns="12700" rIns="0" bIns="0" rtlCol="0">
              <a:spAutoFit/>
            </a:bodyPr>
            <a:lstStyle/>
            <a:p>
              <a:pPr marL="12700">
                <a:lnSpc>
                  <a:spcPct val="100000"/>
                </a:lnSpc>
                <a:spcBef>
                  <a:spcPts val="100"/>
                </a:spcBef>
              </a:pPr>
              <a:r>
                <a:rPr lang="en-US" sz="1400" b="1" spc="-10">
                  <a:solidFill>
                    <a:srgbClr val="FFFFFF"/>
                  </a:solidFill>
                  <a:latin typeface="Arial" panose="020B0604020202020204" pitchFamily="34" charset="0"/>
                  <a:cs typeface="Arial" panose="020B0604020202020204" pitchFamily="34" charset="0"/>
                </a:rPr>
                <a:t>3.2%</a:t>
              </a:r>
              <a:endParaRPr sz="14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537740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FC331B-8391-D386-53E4-83CC561E2A9D}"/>
              </a:ext>
            </a:extLst>
          </p:cNvPr>
          <p:cNvSpPr>
            <a:spLocks noGrp="1"/>
          </p:cNvSpPr>
          <p:nvPr>
            <p:ph type="title"/>
          </p:nvPr>
        </p:nvSpPr>
        <p:spPr>
          <a:xfrm>
            <a:off x="196542" y="1259971"/>
            <a:ext cx="2360921" cy="2623559"/>
          </a:xfrm>
        </p:spPr>
        <p:txBody>
          <a:bodyPr/>
          <a:lstStyle/>
          <a:p>
            <a:pPr>
              <a:lnSpc>
                <a:spcPct val="90000"/>
              </a:lnSpc>
              <a:spcBef>
                <a:spcPct val="0"/>
              </a:spcBef>
              <a:spcAft>
                <a:spcPts val="600"/>
              </a:spcAft>
            </a:pPr>
            <a:r>
              <a:rPr lang="en-US" sz="3200" kern="1200">
                <a:solidFill>
                  <a:srgbClr val="FFFFFF"/>
                </a:solidFill>
                <a:latin typeface="Arial" panose="020B0604020202020204" pitchFamily="34" charset="0"/>
                <a:cs typeface="Arial" panose="020B0604020202020204" pitchFamily="34" charset="0"/>
              </a:rPr>
              <a:t>Why Infosys</a:t>
            </a:r>
          </a:p>
        </p:txBody>
      </p:sp>
      <p:sp>
        <p:nvSpPr>
          <p:cNvPr id="43" name="Freeform 7">
            <a:extLst>
              <a:ext uri="{FF2B5EF4-FFF2-40B4-BE49-F238E27FC236}">
                <a16:creationId xmlns:a16="http://schemas.microsoft.com/office/drawing/2014/main" id="{02B23EC5-120C-D914-3C41-92D0C68E5730}"/>
              </a:ext>
            </a:extLst>
          </p:cNvPr>
          <p:cNvSpPr/>
          <p:nvPr/>
        </p:nvSpPr>
        <p:spPr>
          <a:xfrm rot="18900000">
            <a:off x="5393065" y="2029041"/>
            <a:ext cx="1103850" cy="1103850"/>
          </a:xfrm>
          <a:prstGeom prst="ellipse">
            <a:avLst/>
          </a:prstGeom>
          <a:gradFill flip="none" rotWithShape="1">
            <a:gsLst>
              <a:gs pos="22846">
                <a:srgbClr val="FFFFFF"/>
              </a:gs>
              <a:gs pos="63322">
                <a:srgbClr val="E6EAEB"/>
              </a:gs>
              <a:gs pos="99960">
                <a:srgbClr val="CDD5D8"/>
              </a:gs>
            </a:gsLst>
            <a:lin ang="3850001"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sp>
        <p:nvSpPr>
          <p:cNvPr id="45" name="Freeform 8">
            <a:extLst>
              <a:ext uri="{FF2B5EF4-FFF2-40B4-BE49-F238E27FC236}">
                <a16:creationId xmlns:a16="http://schemas.microsoft.com/office/drawing/2014/main" id="{4FF4BAE1-1333-8DBD-4B7E-AFB6BCA1AFA3}"/>
              </a:ext>
            </a:extLst>
          </p:cNvPr>
          <p:cNvSpPr/>
          <p:nvPr/>
        </p:nvSpPr>
        <p:spPr>
          <a:xfrm>
            <a:off x="4849340" y="1443788"/>
            <a:ext cx="2222008" cy="216628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39" y="4278"/>
                </a:lnTo>
                <a:lnTo>
                  <a:pt x="0" y="13891"/>
                </a:lnTo>
                <a:lnTo>
                  <a:pt x="5993" y="21600"/>
                </a:lnTo>
                <a:lnTo>
                  <a:pt x="15606" y="21600"/>
                </a:lnTo>
                <a:lnTo>
                  <a:pt x="21600" y="13891"/>
                </a:lnTo>
                <a:lnTo>
                  <a:pt x="19461" y="4278"/>
                </a:lnTo>
                <a:lnTo>
                  <a:pt x="10800" y="0"/>
                </a:lnTo>
                <a:close/>
              </a:path>
            </a:pathLst>
          </a:custGeom>
          <a:noFill/>
          <a:ln w="723900" cap="flat">
            <a:solidFill>
              <a:srgbClr val="D5D5D5">
                <a:alpha val="73239"/>
              </a:srgbClr>
            </a:solidFill>
            <a:prstDash val="solid"/>
            <a:miter lim="800000"/>
          </a:ln>
          <a:effectLst/>
        </p:spPr>
        <p:txBody>
          <a:bodyPr wrap="square" lIns="91439" tIns="91439" rIns="91439" bIns="91439" numCol="1" anchor="ctr">
            <a:noAutofit/>
          </a:bodyPr>
          <a:lstStyle/>
          <a:p>
            <a:pPr algn="ctr" defTabSz="1828800">
              <a:defRPr sz="3600" b="0">
                <a:latin typeface="Calibri"/>
                <a:ea typeface="Calibri"/>
                <a:cs typeface="Calibri"/>
                <a:sym typeface="Calibri"/>
              </a:defRPr>
            </a:pPr>
            <a:endParaRPr/>
          </a:p>
        </p:txBody>
      </p:sp>
      <p:sp>
        <p:nvSpPr>
          <p:cNvPr id="48" name="Freeform 12">
            <a:extLst>
              <a:ext uri="{FF2B5EF4-FFF2-40B4-BE49-F238E27FC236}">
                <a16:creationId xmlns:a16="http://schemas.microsoft.com/office/drawing/2014/main" id="{A8117137-5701-3070-873B-3CA243072001}"/>
              </a:ext>
            </a:extLst>
          </p:cNvPr>
          <p:cNvSpPr/>
          <p:nvPr/>
        </p:nvSpPr>
        <p:spPr>
          <a:xfrm>
            <a:off x="6460123" y="1432024"/>
            <a:ext cx="794076" cy="794144"/>
          </a:xfrm>
          <a:custGeom>
            <a:avLst/>
            <a:gdLst/>
            <a:ahLst/>
            <a:cxnLst>
              <a:cxn ang="0">
                <a:pos x="wd2" y="hd2"/>
              </a:cxn>
              <a:cxn ang="5400000">
                <a:pos x="wd2" y="hd2"/>
              </a:cxn>
              <a:cxn ang="10800000">
                <a:pos x="wd2" y="hd2"/>
              </a:cxn>
              <a:cxn ang="16200000">
                <a:pos x="wd2" y="hd2"/>
              </a:cxn>
            </a:cxnLst>
            <a:rect l="0" t="0" r="r" b="b"/>
            <a:pathLst>
              <a:path w="21600" h="21600" extrusionOk="0">
                <a:moveTo>
                  <a:pt x="6694" y="21009"/>
                </a:moveTo>
                <a:lnTo>
                  <a:pt x="21600" y="6104"/>
                </a:lnTo>
                <a:lnTo>
                  <a:pt x="15498" y="0"/>
                </a:lnTo>
                <a:lnTo>
                  <a:pt x="591" y="14905"/>
                </a:lnTo>
                <a:lnTo>
                  <a:pt x="0" y="14316"/>
                </a:lnTo>
                <a:lnTo>
                  <a:pt x="928" y="20670"/>
                </a:lnTo>
                <a:lnTo>
                  <a:pt x="7285" y="21600"/>
                </a:lnTo>
                <a:lnTo>
                  <a:pt x="6694" y="21009"/>
                </a:lnTo>
                <a:close/>
              </a:path>
            </a:pathLst>
          </a:custGeom>
          <a:solidFill>
            <a:srgbClr val="099C45"/>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4" name="Freeform 27">
            <a:extLst>
              <a:ext uri="{FF2B5EF4-FFF2-40B4-BE49-F238E27FC236}">
                <a16:creationId xmlns:a16="http://schemas.microsoft.com/office/drawing/2014/main" id="{6552B6BF-DFEC-E249-702C-ABAEE1DC443C}"/>
              </a:ext>
            </a:extLst>
          </p:cNvPr>
          <p:cNvSpPr/>
          <p:nvPr/>
        </p:nvSpPr>
        <p:spPr>
          <a:xfrm rot="20202001">
            <a:off x="6505307" y="1481332"/>
            <a:ext cx="700036" cy="700036"/>
          </a:xfrm>
          <a:prstGeom prst="ellipse">
            <a:avLst/>
          </a:prstGeom>
          <a:solidFill>
            <a:srgbClr val="099C45"/>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6" name="Freeform 28">
            <a:extLst>
              <a:ext uri="{FF2B5EF4-FFF2-40B4-BE49-F238E27FC236}">
                <a16:creationId xmlns:a16="http://schemas.microsoft.com/office/drawing/2014/main" id="{1395F431-8385-6A26-4352-D8FFE8B93BB0}"/>
              </a:ext>
            </a:extLst>
          </p:cNvPr>
          <p:cNvSpPr/>
          <p:nvPr/>
        </p:nvSpPr>
        <p:spPr>
          <a:xfrm rot="19947001">
            <a:off x="6554794" y="1530865"/>
            <a:ext cx="601112" cy="601112"/>
          </a:xfrm>
          <a:prstGeom prst="ellipse">
            <a:avLst/>
          </a:prstGeom>
          <a:gradFill flip="none" rotWithShape="1">
            <a:gsLst>
              <a:gs pos="22846">
                <a:srgbClr val="FFFFFF"/>
              </a:gs>
              <a:gs pos="63322">
                <a:srgbClr val="E6EAEB"/>
              </a:gs>
              <a:gs pos="99960">
                <a:srgbClr val="CDD5D8"/>
              </a:gs>
            </a:gsLst>
            <a:lin ang="3024513"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grpSp>
        <p:nvGrpSpPr>
          <p:cNvPr id="8" name="Group 7">
            <a:extLst>
              <a:ext uri="{FF2B5EF4-FFF2-40B4-BE49-F238E27FC236}">
                <a16:creationId xmlns:a16="http://schemas.microsoft.com/office/drawing/2014/main" id="{A682CAF6-7AEA-E92A-29F1-B79BDED30F62}"/>
              </a:ext>
            </a:extLst>
          </p:cNvPr>
          <p:cNvGrpSpPr/>
          <p:nvPr/>
        </p:nvGrpSpPr>
        <p:grpSpPr>
          <a:xfrm rot="21182781">
            <a:off x="4656863" y="1481081"/>
            <a:ext cx="788504" cy="799441"/>
            <a:chOff x="4679834" y="1428241"/>
            <a:chExt cx="788504" cy="799441"/>
          </a:xfrm>
        </p:grpSpPr>
        <p:sp>
          <p:nvSpPr>
            <p:cNvPr id="57" name="Freeform 22">
              <a:extLst>
                <a:ext uri="{FF2B5EF4-FFF2-40B4-BE49-F238E27FC236}">
                  <a16:creationId xmlns:a16="http://schemas.microsoft.com/office/drawing/2014/main" id="{C389A059-D792-4888-233C-3416D0336F90}"/>
                </a:ext>
              </a:extLst>
            </p:cNvPr>
            <p:cNvSpPr/>
            <p:nvPr/>
          </p:nvSpPr>
          <p:spPr>
            <a:xfrm>
              <a:off x="4679834" y="1428241"/>
              <a:ext cx="788504" cy="799441"/>
            </a:xfrm>
            <a:custGeom>
              <a:avLst/>
              <a:gdLst/>
              <a:ahLst/>
              <a:cxnLst>
                <a:cxn ang="0">
                  <a:pos x="wd2" y="hd2"/>
                </a:cxn>
                <a:cxn ang="5400000">
                  <a:pos x="wd2" y="hd2"/>
                </a:cxn>
                <a:cxn ang="10800000">
                  <a:pos x="wd2" y="hd2"/>
                </a:cxn>
                <a:cxn ang="16200000">
                  <a:pos x="wd2" y="hd2"/>
                </a:cxn>
              </a:cxnLst>
              <a:rect l="0" t="0" r="r" b="b"/>
              <a:pathLst>
                <a:path w="21600" h="21600" extrusionOk="0">
                  <a:moveTo>
                    <a:pt x="20993" y="15074"/>
                  </a:moveTo>
                  <a:lnTo>
                    <a:pt x="6256" y="0"/>
                  </a:lnTo>
                  <a:lnTo>
                    <a:pt x="0" y="5952"/>
                  </a:lnTo>
                  <a:lnTo>
                    <a:pt x="14737" y="21026"/>
                  </a:lnTo>
                  <a:lnTo>
                    <a:pt x="14132" y="21600"/>
                  </a:lnTo>
                  <a:lnTo>
                    <a:pt x="20548" y="20793"/>
                  </a:lnTo>
                  <a:lnTo>
                    <a:pt x="21600" y="14498"/>
                  </a:lnTo>
                  <a:lnTo>
                    <a:pt x="20993" y="15074"/>
                  </a:lnTo>
                  <a:close/>
                </a:path>
              </a:pathLst>
            </a:custGeom>
            <a:solidFill>
              <a:srgbClr val="B9B9BA"/>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7" name="Freeform 30">
              <a:extLst>
                <a:ext uri="{FF2B5EF4-FFF2-40B4-BE49-F238E27FC236}">
                  <a16:creationId xmlns:a16="http://schemas.microsoft.com/office/drawing/2014/main" id="{146A543D-2710-9D95-E1A8-9837A6397FC2}"/>
                </a:ext>
              </a:extLst>
            </p:cNvPr>
            <p:cNvSpPr/>
            <p:nvPr/>
          </p:nvSpPr>
          <p:spPr>
            <a:xfrm rot="16881000">
              <a:off x="4715421" y="1481213"/>
              <a:ext cx="700036" cy="700036"/>
            </a:xfrm>
            <a:prstGeom prst="ellipse">
              <a:avLst/>
            </a:prstGeom>
            <a:solidFill>
              <a:srgbClr val="B9B9BA"/>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8" name="Freeform 31">
              <a:extLst>
                <a:ext uri="{FF2B5EF4-FFF2-40B4-BE49-F238E27FC236}">
                  <a16:creationId xmlns:a16="http://schemas.microsoft.com/office/drawing/2014/main" id="{9F386B90-A76E-9B18-C876-A53D652A3812}"/>
                </a:ext>
              </a:extLst>
            </p:cNvPr>
            <p:cNvSpPr/>
            <p:nvPr/>
          </p:nvSpPr>
          <p:spPr>
            <a:xfrm rot="16960199">
              <a:off x="4764836" y="1530624"/>
              <a:ext cx="601112" cy="601112"/>
            </a:xfrm>
            <a:prstGeom prst="ellipse">
              <a:avLst/>
            </a:prstGeom>
            <a:gradFill flip="none" rotWithShape="1">
              <a:gsLst>
                <a:gs pos="22846">
                  <a:srgbClr val="FFFFFF"/>
                </a:gs>
                <a:gs pos="63322">
                  <a:srgbClr val="E6EAEB"/>
                </a:gs>
                <a:gs pos="99960">
                  <a:srgbClr val="CDD5D8"/>
                </a:gs>
              </a:gsLst>
              <a:lin ang="7067540"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grpSp>
      <p:grpSp>
        <p:nvGrpSpPr>
          <p:cNvPr id="6" name="Group 5">
            <a:extLst>
              <a:ext uri="{FF2B5EF4-FFF2-40B4-BE49-F238E27FC236}">
                <a16:creationId xmlns:a16="http://schemas.microsoft.com/office/drawing/2014/main" id="{DF82316B-037C-EE16-F31A-440621CC2040}"/>
              </a:ext>
            </a:extLst>
          </p:cNvPr>
          <p:cNvGrpSpPr/>
          <p:nvPr/>
        </p:nvGrpSpPr>
        <p:grpSpPr>
          <a:xfrm rot="20762605">
            <a:off x="5106472" y="3254799"/>
            <a:ext cx="793044" cy="795176"/>
            <a:chOff x="5028752" y="3151707"/>
            <a:chExt cx="793044" cy="795176"/>
          </a:xfrm>
        </p:grpSpPr>
        <p:sp>
          <p:nvSpPr>
            <p:cNvPr id="53" name="Freeform 18">
              <a:extLst>
                <a:ext uri="{FF2B5EF4-FFF2-40B4-BE49-F238E27FC236}">
                  <a16:creationId xmlns:a16="http://schemas.microsoft.com/office/drawing/2014/main" id="{463C9BFC-9151-149F-21C2-5FF71B2CCF10}"/>
                </a:ext>
              </a:extLst>
            </p:cNvPr>
            <p:cNvSpPr/>
            <p:nvPr/>
          </p:nvSpPr>
          <p:spPr>
            <a:xfrm>
              <a:off x="5028752" y="3151707"/>
              <a:ext cx="793044" cy="795176"/>
            </a:xfrm>
            <a:custGeom>
              <a:avLst/>
              <a:gdLst/>
              <a:ahLst/>
              <a:cxnLst>
                <a:cxn ang="0">
                  <a:pos x="wd2" y="hd2"/>
                </a:cxn>
                <a:cxn ang="5400000">
                  <a:pos x="wd2" y="hd2"/>
                </a:cxn>
                <a:cxn ang="10800000">
                  <a:pos x="wd2" y="hd2"/>
                </a:cxn>
                <a:cxn ang="16200000">
                  <a:pos x="wd2" y="hd2"/>
                </a:cxn>
              </a:cxnLst>
              <a:rect l="0" t="0" r="r" b="b"/>
              <a:pathLst>
                <a:path w="21600" h="21600" extrusionOk="0">
                  <a:moveTo>
                    <a:pt x="14873" y="589"/>
                  </a:moveTo>
                  <a:lnTo>
                    <a:pt x="0" y="15527"/>
                  </a:lnTo>
                  <a:lnTo>
                    <a:pt x="6133" y="21600"/>
                  </a:lnTo>
                  <a:lnTo>
                    <a:pt x="21006" y="6660"/>
                  </a:lnTo>
                  <a:lnTo>
                    <a:pt x="21600" y="7249"/>
                  </a:lnTo>
                  <a:lnTo>
                    <a:pt x="20646" y="904"/>
                  </a:lnTo>
                  <a:lnTo>
                    <a:pt x="14279" y="0"/>
                  </a:lnTo>
                  <a:lnTo>
                    <a:pt x="14873" y="589"/>
                  </a:lnTo>
                  <a:close/>
                </a:path>
              </a:pathLst>
            </a:custGeom>
            <a:solidFill>
              <a:srgbClr val="5EBCE1"/>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77" name="Freeform 36">
              <a:extLst>
                <a:ext uri="{FF2B5EF4-FFF2-40B4-BE49-F238E27FC236}">
                  <a16:creationId xmlns:a16="http://schemas.microsoft.com/office/drawing/2014/main" id="{6E79C021-3E2E-F92A-031B-FA995B296C81}"/>
                </a:ext>
              </a:extLst>
            </p:cNvPr>
            <p:cNvSpPr/>
            <p:nvPr/>
          </p:nvSpPr>
          <p:spPr>
            <a:xfrm rot="17829600">
              <a:off x="5080507" y="3195252"/>
              <a:ext cx="700036" cy="700036"/>
            </a:xfrm>
            <a:prstGeom prst="ellipse">
              <a:avLst/>
            </a:prstGeom>
            <a:solidFill>
              <a:srgbClr val="5EBCE1"/>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78" name="Freeform 37">
              <a:extLst>
                <a:ext uri="{FF2B5EF4-FFF2-40B4-BE49-F238E27FC236}">
                  <a16:creationId xmlns:a16="http://schemas.microsoft.com/office/drawing/2014/main" id="{543F6DDF-27A5-C771-06C4-E8B7324A9472}"/>
                </a:ext>
              </a:extLst>
            </p:cNvPr>
            <p:cNvSpPr/>
            <p:nvPr/>
          </p:nvSpPr>
          <p:spPr>
            <a:xfrm rot="19947001">
              <a:off x="5129800" y="3245061"/>
              <a:ext cx="601112" cy="601111"/>
            </a:xfrm>
            <a:prstGeom prst="ellipse">
              <a:avLst/>
            </a:prstGeom>
            <a:gradFill flip="none" rotWithShape="1">
              <a:gsLst>
                <a:gs pos="22846">
                  <a:srgbClr val="FFFFFF"/>
                </a:gs>
                <a:gs pos="63322">
                  <a:srgbClr val="E6EAEB"/>
                </a:gs>
                <a:gs pos="99960">
                  <a:srgbClr val="CDD5D8"/>
                </a:gs>
              </a:gsLst>
              <a:lin ang="3024513"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grpSp>
      <p:grpSp>
        <p:nvGrpSpPr>
          <p:cNvPr id="7" name="Group 6">
            <a:extLst>
              <a:ext uri="{FF2B5EF4-FFF2-40B4-BE49-F238E27FC236}">
                <a16:creationId xmlns:a16="http://schemas.microsoft.com/office/drawing/2014/main" id="{390C84D1-C4B4-993B-E063-08E790C601A2}"/>
              </a:ext>
            </a:extLst>
          </p:cNvPr>
          <p:cNvGrpSpPr/>
          <p:nvPr/>
        </p:nvGrpSpPr>
        <p:grpSpPr>
          <a:xfrm rot="524979">
            <a:off x="4423403" y="2490110"/>
            <a:ext cx="919003" cy="700036"/>
            <a:chOff x="4438234" y="2512620"/>
            <a:chExt cx="919003" cy="700036"/>
          </a:xfrm>
        </p:grpSpPr>
        <p:sp>
          <p:nvSpPr>
            <p:cNvPr id="54" name="Freeform 20">
              <a:extLst>
                <a:ext uri="{FF2B5EF4-FFF2-40B4-BE49-F238E27FC236}">
                  <a16:creationId xmlns:a16="http://schemas.microsoft.com/office/drawing/2014/main" id="{39669467-3345-F481-969D-BD0C40E1C453}"/>
                </a:ext>
              </a:extLst>
            </p:cNvPr>
            <p:cNvSpPr/>
            <p:nvPr/>
          </p:nvSpPr>
          <p:spPr>
            <a:xfrm>
              <a:off x="4438234" y="2563803"/>
              <a:ext cx="919003" cy="576277"/>
            </a:xfrm>
            <a:custGeom>
              <a:avLst/>
              <a:gdLst/>
              <a:ahLst/>
              <a:cxnLst>
                <a:cxn ang="0">
                  <a:pos x="wd2" y="hd2"/>
                </a:cxn>
                <a:cxn ang="5400000">
                  <a:pos x="wd2" y="hd2"/>
                </a:cxn>
                <a:cxn ang="10800000">
                  <a:pos x="wd2" y="hd2"/>
                </a:cxn>
                <a:cxn ang="16200000">
                  <a:pos x="wd2" y="hd2"/>
                </a:cxn>
              </a:cxnLst>
              <a:rect l="0" t="0" r="r" b="b"/>
              <a:pathLst>
                <a:path w="21600" h="21600" extrusionOk="0">
                  <a:moveTo>
                    <a:pt x="17270" y="1091"/>
                  </a:moveTo>
                  <a:lnTo>
                    <a:pt x="0" y="10322"/>
                  </a:lnTo>
                  <a:lnTo>
                    <a:pt x="2369" y="21600"/>
                  </a:lnTo>
                  <a:lnTo>
                    <a:pt x="19640" y="12369"/>
                  </a:lnTo>
                  <a:lnTo>
                    <a:pt x="19870" y="13460"/>
                  </a:lnTo>
                  <a:lnTo>
                    <a:pt x="21600" y="5049"/>
                  </a:lnTo>
                  <a:lnTo>
                    <a:pt x="17042" y="0"/>
                  </a:lnTo>
                  <a:lnTo>
                    <a:pt x="17270" y="1091"/>
                  </a:lnTo>
                  <a:close/>
                </a:path>
              </a:pathLst>
            </a:custGeom>
            <a:solidFill>
              <a:srgbClr val="00183C"/>
            </a:solidFill>
            <a:ln w="12700" cap="flat">
              <a:noFill/>
              <a:miter lim="400000"/>
            </a:ln>
            <a:effectLst/>
          </p:spPr>
          <p:txBody>
            <a:bodyPr wrap="square" lIns="45718" tIns="45718" rIns="45718" bIns="45718" numCol="1" anchor="ctr">
              <a:noAutofit/>
            </a:bodyPr>
            <a:lstStyle/>
            <a:p>
              <a:pPr algn="ctr" defTabSz="914400">
                <a:defRPr sz="1800" b="0">
                  <a:latin typeface="Calibri"/>
                  <a:ea typeface="Calibri"/>
                  <a:cs typeface="Calibri"/>
                  <a:sym typeface="Calibri"/>
                </a:defRPr>
              </a:pPr>
              <a:endParaRPr/>
            </a:p>
          </p:txBody>
        </p:sp>
        <p:sp>
          <p:nvSpPr>
            <p:cNvPr id="79" name="Freeform 39">
              <a:extLst>
                <a:ext uri="{FF2B5EF4-FFF2-40B4-BE49-F238E27FC236}">
                  <a16:creationId xmlns:a16="http://schemas.microsoft.com/office/drawing/2014/main" id="{FA14CA8F-1F7A-DCDE-C30E-2DD9774256A5}"/>
                </a:ext>
              </a:extLst>
            </p:cNvPr>
            <p:cNvSpPr/>
            <p:nvPr/>
          </p:nvSpPr>
          <p:spPr>
            <a:xfrm rot="18900000">
              <a:off x="4523338" y="2512620"/>
              <a:ext cx="700036" cy="700036"/>
            </a:xfrm>
            <a:prstGeom prst="ellipse">
              <a:avLst/>
            </a:prstGeom>
            <a:solidFill>
              <a:srgbClr val="00183C"/>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Calibri"/>
                  <a:ea typeface="Calibri"/>
                  <a:cs typeface="Calibri"/>
                  <a:sym typeface="Calibri"/>
                </a:defRPr>
              </a:pPr>
              <a:endParaRPr/>
            </a:p>
          </p:txBody>
        </p:sp>
        <p:sp>
          <p:nvSpPr>
            <p:cNvPr id="80" name="Freeform 40">
              <a:extLst>
                <a:ext uri="{FF2B5EF4-FFF2-40B4-BE49-F238E27FC236}">
                  <a16:creationId xmlns:a16="http://schemas.microsoft.com/office/drawing/2014/main" id="{3794337E-DF34-D5FF-A17C-927022CE677E}"/>
                </a:ext>
              </a:extLst>
            </p:cNvPr>
            <p:cNvSpPr/>
            <p:nvPr/>
          </p:nvSpPr>
          <p:spPr>
            <a:xfrm rot="17907599">
              <a:off x="4572832" y="2562110"/>
              <a:ext cx="601112" cy="601112"/>
            </a:xfrm>
            <a:prstGeom prst="ellipse">
              <a:avLst/>
            </a:prstGeom>
            <a:gradFill flip="none" rotWithShape="1">
              <a:gsLst>
                <a:gs pos="22846">
                  <a:srgbClr val="FFFFFF"/>
                </a:gs>
                <a:gs pos="63322">
                  <a:srgbClr val="E6EAEB"/>
                </a:gs>
                <a:gs pos="99960">
                  <a:srgbClr val="CDD5D8"/>
                </a:gs>
              </a:gsLst>
              <a:lin ang="6349152"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grpSp>
      <p:sp>
        <p:nvSpPr>
          <p:cNvPr id="83" name="Rectangle 82" descr="Tools">
            <a:extLst>
              <a:ext uri="{FF2B5EF4-FFF2-40B4-BE49-F238E27FC236}">
                <a16:creationId xmlns:a16="http://schemas.microsoft.com/office/drawing/2014/main" id="{A87F1448-C8D9-E5FE-0F4D-8289673124F7}"/>
              </a:ext>
            </a:extLst>
          </p:cNvPr>
          <p:cNvSpPr/>
          <p:nvPr/>
        </p:nvSpPr>
        <p:spPr>
          <a:xfrm>
            <a:off x="7092575" y="-294712"/>
            <a:ext cx="445341" cy="445341"/>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solidFill>
                <a:sysClr val="windowText" lastClr="000000"/>
              </a:solidFill>
            </a:endParaRPr>
          </a:p>
        </p:txBody>
      </p:sp>
      <p:sp>
        <p:nvSpPr>
          <p:cNvPr id="85" name="Freeform: Shape 84">
            <a:extLst>
              <a:ext uri="{FF2B5EF4-FFF2-40B4-BE49-F238E27FC236}">
                <a16:creationId xmlns:a16="http://schemas.microsoft.com/office/drawing/2014/main" id="{C78B9ED5-8FA5-C7B3-6066-22641B545C38}"/>
              </a:ext>
            </a:extLst>
          </p:cNvPr>
          <p:cNvSpPr/>
          <p:nvPr/>
        </p:nvSpPr>
        <p:spPr>
          <a:xfrm>
            <a:off x="5364434" y="613120"/>
            <a:ext cx="1182238" cy="395859"/>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000" b="1" kern="1200">
                <a:latin typeface="Arial" panose="020B0604020202020204" pitchFamily="34" charset="0"/>
                <a:cs typeface="Arial" panose="020B0604020202020204" pitchFamily="34" charset="0"/>
              </a:rPr>
              <a:t>Tools for Career Development</a:t>
            </a:r>
          </a:p>
        </p:txBody>
      </p:sp>
      <p:grpSp>
        <p:nvGrpSpPr>
          <p:cNvPr id="2" name="Group 1">
            <a:extLst>
              <a:ext uri="{FF2B5EF4-FFF2-40B4-BE49-F238E27FC236}">
                <a16:creationId xmlns:a16="http://schemas.microsoft.com/office/drawing/2014/main" id="{39A4A373-FE31-F5E7-B7AD-AE0BF3681A4A}"/>
              </a:ext>
            </a:extLst>
          </p:cNvPr>
          <p:cNvGrpSpPr/>
          <p:nvPr/>
        </p:nvGrpSpPr>
        <p:grpSpPr>
          <a:xfrm>
            <a:off x="5610325" y="1003108"/>
            <a:ext cx="700036" cy="916114"/>
            <a:chOff x="5610325" y="1065014"/>
            <a:chExt cx="700036" cy="916114"/>
          </a:xfrm>
        </p:grpSpPr>
        <p:sp>
          <p:nvSpPr>
            <p:cNvPr id="47" name="Freeform 10">
              <a:extLst>
                <a:ext uri="{FF2B5EF4-FFF2-40B4-BE49-F238E27FC236}">
                  <a16:creationId xmlns:a16="http://schemas.microsoft.com/office/drawing/2014/main" id="{70DC5A37-6E48-FA2C-B7BE-A2D97CE01499}"/>
                </a:ext>
              </a:extLst>
            </p:cNvPr>
            <p:cNvSpPr/>
            <p:nvPr/>
          </p:nvSpPr>
          <p:spPr>
            <a:xfrm>
              <a:off x="5770957" y="1065014"/>
              <a:ext cx="378704" cy="916114"/>
            </a:xfrm>
            <a:custGeom>
              <a:avLst/>
              <a:gdLst/>
              <a:ahLst/>
              <a:cxnLst>
                <a:cxn ang="0">
                  <a:pos x="wd2" y="hd2"/>
                </a:cxn>
                <a:cxn ang="5400000">
                  <a:pos x="wd2" y="hd2"/>
                </a:cxn>
                <a:cxn ang="10800000">
                  <a:pos x="wd2" y="hd2"/>
                </a:cxn>
                <a:cxn ang="16200000">
                  <a:pos x="wd2" y="hd2"/>
                </a:cxn>
              </a:cxnLst>
              <a:rect l="0" t="0" r="r" b="b"/>
              <a:pathLst>
                <a:path w="21600" h="21600" extrusionOk="0">
                  <a:moveTo>
                    <a:pt x="19850" y="18273"/>
                  </a:moveTo>
                  <a:lnTo>
                    <a:pt x="19850" y="0"/>
                  </a:lnTo>
                  <a:lnTo>
                    <a:pt x="1750" y="0"/>
                  </a:lnTo>
                  <a:lnTo>
                    <a:pt x="1750" y="18273"/>
                  </a:lnTo>
                  <a:lnTo>
                    <a:pt x="0" y="18273"/>
                  </a:lnTo>
                  <a:lnTo>
                    <a:pt x="10802" y="21600"/>
                  </a:lnTo>
                  <a:lnTo>
                    <a:pt x="21600" y="18273"/>
                  </a:lnTo>
                  <a:lnTo>
                    <a:pt x="19850" y="18273"/>
                  </a:lnTo>
                  <a:close/>
                </a:path>
              </a:pathLst>
            </a:custGeom>
            <a:solidFill>
              <a:srgbClr val="FF7014"/>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1" name="Freeform 24">
              <a:extLst>
                <a:ext uri="{FF2B5EF4-FFF2-40B4-BE49-F238E27FC236}">
                  <a16:creationId xmlns:a16="http://schemas.microsoft.com/office/drawing/2014/main" id="{C3441603-9E1A-22F0-E813-BBBED16B8631}"/>
                </a:ext>
              </a:extLst>
            </p:cNvPr>
            <p:cNvSpPr/>
            <p:nvPr/>
          </p:nvSpPr>
          <p:spPr>
            <a:xfrm rot="18396599">
              <a:off x="5610325" y="1121185"/>
              <a:ext cx="700036" cy="700036"/>
            </a:xfrm>
            <a:prstGeom prst="ellipse">
              <a:avLst/>
            </a:prstGeom>
            <a:solidFill>
              <a:srgbClr val="FF7014"/>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62" name="Freeform 25">
              <a:extLst>
                <a:ext uri="{FF2B5EF4-FFF2-40B4-BE49-F238E27FC236}">
                  <a16:creationId xmlns:a16="http://schemas.microsoft.com/office/drawing/2014/main" id="{78089C47-F63D-2B5D-18B6-CB0384E2F19B}"/>
                </a:ext>
              </a:extLst>
            </p:cNvPr>
            <p:cNvSpPr/>
            <p:nvPr/>
          </p:nvSpPr>
          <p:spPr>
            <a:xfrm rot="18900000">
              <a:off x="5659819" y="1170663"/>
              <a:ext cx="601112" cy="601111"/>
            </a:xfrm>
            <a:prstGeom prst="ellipse">
              <a:avLst/>
            </a:prstGeom>
            <a:gradFill flip="none" rotWithShape="1">
              <a:gsLst>
                <a:gs pos="22846">
                  <a:srgbClr val="FFFFFF"/>
                </a:gs>
                <a:gs pos="63322">
                  <a:srgbClr val="E6EAEB"/>
                </a:gs>
                <a:gs pos="99960">
                  <a:srgbClr val="CDD5D8"/>
                </a:gs>
              </a:gsLst>
              <a:lin ang="3024513"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sp>
          <p:nvSpPr>
            <p:cNvPr id="88" name="Rectangle 87" descr="Tools">
              <a:extLst>
                <a:ext uri="{FF2B5EF4-FFF2-40B4-BE49-F238E27FC236}">
                  <a16:creationId xmlns:a16="http://schemas.microsoft.com/office/drawing/2014/main" id="{70885350-FE71-C1FA-853A-56F6A9DA588A}"/>
                </a:ext>
              </a:extLst>
            </p:cNvPr>
            <p:cNvSpPr/>
            <p:nvPr/>
          </p:nvSpPr>
          <p:spPr>
            <a:xfrm>
              <a:off x="5806662" y="1308176"/>
              <a:ext cx="305973" cy="305973"/>
            </a:xfrm>
            <a:prstGeom prst="rect">
              <a:avLst/>
            </a:prstGeom>
            <a: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solidFill>
                  <a:sysClr val="windowText" lastClr="000000"/>
                </a:solidFill>
              </a:endParaRPr>
            </a:p>
          </p:txBody>
        </p:sp>
      </p:grpSp>
      <p:sp>
        <p:nvSpPr>
          <p:cNvPr id="93" name="Rectangle 92" descr="Books">
            <a:extLst>
              <a:ext uri="{FF2B5EF4-FFF2-40B4-BE49-F238E27FC236}">
                <a16:creationId xmlns:a16="http://schemas.microsoft.com/office/drawing/2014/main" id="{5A7E49F5-26AA-F950-7FDD-E85C8F456E43}"/>
              </a:ext>
            </a:extLst>
          </p:cNvPr>
          <p:cNvSpPr/>
          <p:nvPr/>
        </p:nvSpPr>
        <p:spPr>
          <a:xfrm>
            <a:off x="6677463" y="1651410"/>
            <a:ext cx="364350" cy="364350"/>
          </a:xfrm>
          <a:prstGeom prst="rect">
            <a:avLst/>
          </a:prstGeom>
          <a: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91" name="Freeform: Shape 90">
            <a:extLst>
              <a:ext uri="{FF2B5EF4-FFF2-40B4-BE49-F238E27FC236}">
                <a16:creationId xmlns:a16="http://schemas.microsoft.com/office/drawing/2014/main" id="{30C65FCD-2893-5D76-1152-4206937D860B}"/>
              </a:ext>
            </a:extLst>
          </p:cNvPr>
          <p:cNvSpPr/>
          <p:nvPr/>
        </p:nvSpPr>
        <p:spPr>
          <a:xfrm>
            <a:off x="7213650" y="1283445"/>
            <a:ext cx="1328749" cy="395859"/>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000" b="1" kern="1200">
                <a:latin typeface="Arial" panose="020B0604020202020204" pitchFamily="34" charset="0"/>
                <a:cs typeface="Arial" panose="020B0604020202020204" pitchFamily="34" charset="0"/>
              </a:rPr>
              <a:t>World class facilities for further learning</a:t>
            </a:r>
          </a:p>
        </p:txBody>
      </p:sp>
      <p:grpSp>
        <p:nvGrpSpPr>
          <p:cNvPr id="3" name="Group 2">
            <a:extLst>
              <a:ext uri="{FF2B5EF4-FFF2-40B4-BE49-F238E27FC236}">
                <a16:creationId xmlns:a16="http://schemas.microsoft.com/office/drawing/2014/main" id="{FF57E416-4C19-9DF2-F2F4-BD5B208B9AAB}"/>
              </a:ext>
            </a:extLst>
          </p:cNvPr>
          <p:cNvGrpSpPr/>
          <p:nvPr/>
        </p:nvGrpSpPr>
        <p:grpSpPr>
          <a:xfrm rot="21086436">
            <a:off x="6593656" y="2511770"/>
            <a:ext cx="917628" cy="700036"/>
            <a:chOff x="6534144" y="2512583"/>
            <a:chExt cx="917628" cy="700036"/>
          </a:xfrm>
        </p:grpSpPr>
        <p:sp>
          <p:nvSpPr>
            <p:cNvPr id="49" name="Freeform 14">
              <a:extLst>
                <a:ext uri="{FF2B5EF4-FFF2-40B4-BE49-F238E27FC236}">
                  <a16:creationId xmlns:a16="http://schemas.microsoft.com/office/drawing/2014/main" id="{62688666-3B41-F4BE-0FD0-C57BD0066E5E}"/>
                </a:ext>
              </a:extLst>
            </p:cNvPr>
            <p:cNvSpPr/>
            <p:nvPr/>
          </p:nvSpPr>
          <p:spPr>
            <a:xfrm>
              <a:off x="6534144" y="2563803"/>
              <a:ext cx="917628" cy="582400"/>
            </a:xfrm>
            <a:custGeom>
              <a:avLst/>
              <a:gdLst/>
              <a:ahLst/>
              <a:cxnLst>
                <a:cxn ang="0">
                  <a:pos x="wd2" y="hd2"/>
                </a:cxn>
                <a:cxn ang="5400000">
                  <a:pos x="wd2" y="hd2"/>
                </a:cxn>
                <a:cxn ang="10800000">
                  <a:pos x="wd2" y="hd2"/>
                </a:cxn>
                <a:cxn ang="16200000">
                  <a:pos x="wd2" y="hd2"/>
                </a:cxn>
              </a:cxnLst>
              <a:rect l="0" t="0" r="r" b="b"/>
              <a:pathLst>
                <a:path w="21600" h="21600" extrusionOk="0">
                  <a:moveTo>
                    <a:pt x="1917" y="12198"/>
                  </a:moveTo>
                  <a:lnTo>
                    <a:pt x="19156" y="21600"/>
                  </a:lnTo>
                  <a:lnTo>
                    <a:pt x="21600" y="10479"/>
                  </a:lnTo>
                  <a:lnTo>
                    <a:pt x="4361" y="1077"/>
                  </a:lnTo>
                  <a:lnTo>
                    <a:pt x="4597" y="0"/>
                  </a:lnTo>
                  <a:lnTo>
                    <a:pt x="0" y="4924"/>
                  </a:lnTo>
                  <a:lnTo>
                    <a:pt x="1681" y="13275"/>
                  </a:lnTo>
                  <a:lnTo>
                    <a:pt x="1917" y="12198"/>
                  </a:lnTo>
                  <a:close/>
                </a:path>
              </a:pathLst>
            </a:custGeom>
            <a:solidFill>
              <a:srgbClr val="FECF00"/>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81" name="Freeform 41">
              <a:extLst>
                <a:ext uri="{FF2B5EF4-FFF2-40B4-BE49-F238E27FC236}">
                  <a16:creationId xmlns:a16="http://schemas.microsoft.com/office/drawing/2014/main" id="{B7CBD014-644A-431A-E1C3-954619B16613}"/>
                </a:ext>
              </a:extLst>
            </p:cNvPr>
            <p:cNvSpPr/>
            <p:nvPr/>
          </p:nvSpPr>
          <p:spPr>
            <a:xfrm rot="18900000">
              <a:off x="6664825" y="2512583"/>
              <a:ext cx="700036" cy="700036"/>
            </a:xfrm>
            <a:prstGeom prst="ellipse">
              <a:avLst/>
            </a:prstGeom>
            <a:solidFill>
              <a:srgbClr val="FECF00"/>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82" name="Freeform 42">
              <a:extLst>
                <a:ext uri="{FF2B5EF4-FFF2-40B4-BE49-F238E27FC236}">
                  <a16:creationId xmlns:a16="http://schemas.microsoft.com/office/drawing/2014/main" id="{EE1BAD20-F1FF-650E-3A4C-9DED1E996137}"/>
                </a:ext>
              </a:extLst>
            </p:cNvPr>
            <p:cNvSpPr/>
            <p:nvPr/>
          </p:nvSpPr>
          <p:spPr>
            <a:xfrm rot="20093401">
              <a:off x="6714316" y="2561823"/>
              <a:ext cx="601112" cy="601111"/>
            </a:xfrm>
            <a:prstGeom prst="ellipse">
              <a:avLst/>
            </a:prstGeom>
            <a:gradFill flip="none" rotWithShape="1">
              <a:gsLst>
                <a:gs pos="22846">
                  <a:srgbClr val="FFFFFF"/>
                </a:gs>
                <a:gs pos="63322">
                  <a:srgbClr val="E6EAEB"/>
                </a:gs>
                <a:gs pos="99960">
                  <a:srgbClr val="CDD5D8"/>
                </a:gs>
              </a:gsLst>
              <a:lin ang="3024513"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sp>
          <p:nvSpPr>
            <p:cNvPr id="98" name="Rectangle 97" descr="Upward trend">
              <a:extLst>
                <a:ext uri="{FF2B5EF4-FFF2-40B4-BE49-F238E27FC236}">
                  <a16:creationId xmlns:a16="http://schemas.microsoft.com/office/drawing/2014/main" id="{341C1F9C-797E-1696-77D7-8F394268B193}"/>
                </a:ext>
              </a:extLst>
            </p:cNvPr>
            <p:cNvSpPr/>
            <p:nvPr/>
          </p:nvSpPr>
          <p:spPr>
            <a:xfrm>
              <a:off x="6836765" y="2660977"/>
              <a:ext cx="369955" cy="369955"/>
            </a:xfrm>
            <a:prstGeom prst="rect">
              <a:avLst/>
            </a:prstGeom>
            <a: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grpSp>
      <p:sp>
        <p:nvSpPr>
          <p:cNvPr id="96" name="Freeform: Shape 95">
            <a:extLst>
              <a:ext uri="{FF2B5EF4-FFF2-40B4-BE49-F238E27FC236}">
                <a16:creationId xmlns:a16="http://schemas.microsoft.com/office/drawing/2014/main" id="{E6BE2C2B-0226-D384-6DA0-8A0646165E74}"/>
              </a:ext>
            </a:extLst>
          </p:cNvPr>
          <p:cNvSpPr/>
          <p:nvPr/>
        </p:nvSpPr>
        <p:spPr>
          <a:xfrm>
            <a:off x="7605179" y="2942197"/>
            <a:ext cx="1182238" cy="395859"/>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000" b="1" kern="1200">
                <a:latin typeface="Arial" panose="020B0604020202020204" pitchFamily="34" charset="0"/>
                <a:cs typeface="Arial" panose="020B0604020202020204" pitchFamily="34" charset="0"/>
              </a:rPr>
              <a:t>Diversified Industry focus </a:t>
            </a:r>
          </a:p>
        </p:txBody>
      </p:sp>
      <p:grpSp>
        <p:nvGrpSpPr>
          <p:cNvPr id="9" name="Group 8">
            <a:extLst>
              <a:ext uri="{FF2B5EF4-FFF2-40B4-BE49-F238E27FC236}">
                <a16:creationId xmlns:a16="http://schemas.microsoft.com/office/drawing/2014/main" id="{F231AE8B-DE1D-0687-873D-D79299890741}"/>
              </a:ext>
            </a:extLst>
          </p:cNvPr>
          <p:cNvGrpSpPr/>
          <p:nvPr/>
        </p:nvGrpSpPr>
        <p:grpSpPr>
          <a:xfrm>
            <a:off x="6045747" y="3235722"/>
            <a:ext cx="790154" cy="797928"/>
            <a:chOff x="6045747" y="3235722"/>
            <a:chExt cx="790154" cy="797928"/>
          </a:xfrm>
        </p:grpSpPr>
        <p:grpSp>
          <p:nvGrpSpPr>
            <p:cNvPr id="5" name="Group 4">
              <a:extLst>
                <a:ext uri="{FF2B5EF4-FFF2-40B4-BE49-F238E27FC236}">
                  <a16:creationId xmlns:a16="http://schemas.microsoft.com/office/drawing/2014/main" id="{CC2D6AD1-985D-22B5-655D-3702020110B3}"/>
                </a:ext>
              </a:extLst>
            </p:cNvPr>
            <p:cNvGrpSpPr/>
            <p:nvPr/>
          </p:nvGrpSpPr>
          <p:grpSpPr>
            <a:xfrm rot="764268">
              <a:off x="6045747" y="3235722"/>
              <a:ext cx="790154" cy="797928"/>
              <a:chOff x="6038286" y="3146616"/>
              <a:chExt cx="790154" cy="797928"/>
            </a:xfrm>
          </p:grpSpPr>
          <p:sp>
            <p:nvSpPr>
              <p:cNvPr id="52" name="Freeform 16">
                <a:extLst>
                  <a:ext uri="{FF2B5EF4-FFF2-40B4-BE49-F238E27FC236}">
                    <a16:creationId xmlns:a16="http://schemas.microsoft.com/office/drawing/2014/main" id="{D5301384-9DEC-B045-E4C3-7124CC12A9E3}"/>
                  </a:ext>
                </a:extLst>
              </p:cNvPr>
              <p:cNvSpPr/>
              <p:nvPr/>
            </p:nvSpPr>
            <p:spPr>
              <a:xfrm>
                <a:off x="6038286" y="3146616"/>
                <a:ext cx="790154" cy="797928"/>
              </a:xfrm>
              <a:custGeom>
                <a:avLst/>
                <a:gdLst/>
                <a:ahLst/>
                <a:cxnLst>
                  <a:cxn ang="0">
                    <a:pos x="wd2" y="hd2"/>
                  </a:cxn>
                  <a:cxn ang="5400000">
                    <a:pos x="wd2" y="hd2"/>
                  </a:cxn>
                  <a:cxn ang="10800000">
                    <a:pos x="wd2" y="hd2"/>
                  </a:cxn>
                  <a:cxn ang="16200000">
                    <a:pos x="wd2" y="hd2"/>
                  </a:cxn>
                </a:cxnLst>
                <a:rect l="0" t="0" r="r" b="b"/>
                <a:pathLst>
                  <a:path w="21600" h="21600" extrusionOk="0">
                    <a:moveTo>
                      <a:pt x="602" y="6574"/>
                    </a:moveTo>
                    <a:lnTo>
                      <a:pt x="15389" y="21600"/>
                    </a:lnTo>
                    <a:lnTo>
                      <a:pt x="21600" y="15604"/>
                    </a:lnTo>
                    <a:lnTo>
                      <a:pt x="6813" y="579"/>
                    </a:lnTo>
                    <a:lnTo>
                      <a:pt x="7415" y="0"/>
                    </a:lnTo>
                    <a:lnTo>
                      <a:pt x="1015" y="842"/>
                    </a:lnTo>
                    <a:lnTo>
                      <a:pt x="0" y="7155"/>
                    </a:lnTo>
                    <a:lnTo>
                      <a:pt x="602" y="6574"/>
                    </a:lnTo>
                    <a:close/>
                  </a:path>
                </a:pathLst>
              </a:custGeom>
              <a:solidFill>
                <a:srgbClr val="0741CB"/>
              </a:solidFill>
              <a:ln w="12700" cap="flat">
                <a:noFill/>
                <a:miter lim="400000"/>
              </a:ln>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72" name="Freeform 33">
                <a:extLst>
                  <a:ext uri="{FF2B5EF4-FFF2-40B4-BE49-F238E27FC236}">
                    <a16:creationId xmlns:a16="http://schemas.microsoft.com/office/drawing/2014/main" id="{664EFEF8-AA92-28C2-CFC9-CB7BA5FE6614}"/>
                  </a:ext>
                </a:extLst>
              </p:cNvPr>
              <p:cNvSpPr/>
              <p:nvPr/>
            </p:nvSpPr>
            <p:spPr>
              <a:xfrm rot="18347401">
                <a:off x="6085793" y="3195570"/>
                <a:ext cx="700036" cy="700036"/>
              </a:xfrm>
              <a:prstGeom prst="ellipse">
                <a:avLst/>
              </a:prstGeom>
              <a:solidFill>
                <a:srgbClr val="0741CB"/>
              </a:solidFill>
              <a:ln w="12700" cap="flat">
                <a:noFill/>
                <a:miter lim="400000"/>
              </a:ln>
              <a:effectLst>
                <a:outerShdw blurRad="304800" dist="177800" dir="2315233" rotWithShape="0">
                  <a:srgbClr val="000000">
                    <a:alpha val="38297"/>
                  </a:srgbClr>
                </a:outerShdw>
              </a:effectLst>
            </p:spPr>
            <p:txBody>
              <a:bodyPr wrap="square" lIns="45718" tIns="45718" rIns="45718" bIns="45718" numCol="1" anchor="ctr">
                <a:noAutofit/>
              </a:bodyPr>
              <a:lstStyle/>
              <a:p>
                <a:pPr algn="ctr" defTabSz="914400">
                  <a:defRPr sz="1800" b="0">
                    <a:latin typeface="Helvetica"/>
                    <a:ea typeface="Helvetica"/>
                    <a:cs typeface="Helvetica"/>
                    <a:sym typeface="Helvetica"/>
                  </a:defRPr>
                </a:pPr>
                <a:endParaRPr/>
              </a:p>
            </p:txBody>
          </p:sp>
          <p:sp>
            <p:nvSpPr>
              <p:cNvPr id="76" name="Freeform 34">
                <a:extLst>
                  <a:ext uri="{FF2B5EF4-FFF2-40B4-BE49-F238E27FC236}">
                    <a16:creationId xmlns:a16="http://schemas.microsoft.com/office/drawing/2014/main" id="{F42726B8-71FD-9665-ECF3-29B1F6224B8D}"/>
                  </a:ext>
                </a:extLst>
              </p:cNvPr>
              <p:cNvSpPr/>
              <p:nvPr/>
            </p:nvSpPr>
            <p:spPr>
              <a:xfrm rot="16247999">
                <a:off x="6135474" y="3245435"/>
                <a:ext cx="601112" cy="601111"/>
              </a:xfrm>
              <a:prstGeom prst="ellipse">
                <a:avLst/>
              </a:prstGeom>
              <a:gradFill flip="none" rotWithShape="1">
                <a:gsLst>
                  <a:gs pos="22846">
                    <a:srgbClr val="FFFFFF"/>
                  </a:gs>
                  <a:gs pos="63322">
                    <a:srgbClr val="E6EAEB"/>
                  </a:gs>
                  <a:gs pos="99960">
                    <a:srgbClr val="CDD5D8"/>
                  </a:gs>
                </a:gsLst>
                <a:lin ang="8834305" scaled="0"/>
              </a:gradFill>
              <a:ln w="25400" cap="flat">
                <a:solidFill>
                  <a:srgbClr val="FFFFFF"/>
                </a:solidFill>
                <a:prstDash val="solid"/>
                <a:miter lim="800000"/>
              </a:ln>
              <a:effectLst>
                <a:outerShdw blurRad="304800" dist="177800" dir="2315233" rotWithShape="0">
                  <a:srgbClr val="000000">
                    <a:alpha val="38297"/>
                  </a:srgbClr>
                </a:outerShdw>
              </a:effectLst>
            </p:spPr>
            <p:txBody>
              <a:bodyPr wrap="square" lIns="0" tIns="0" rIns="0" bIns="0" numCol="1" anchor="ctr">
                <a:noAutofit/>
              </a:bodyPr>
              <a:lstStyle/>
              <a:p>
                <a:pPr algn="ctr" defTabSz="1828800">
                  <a:defRPr sz="3600" b="0">
                    <a:solidFill>
                      <a:srgbClr val="FFFFFF"/>
                    </a:solidFill>
                    <a:latin typeface="Avenir Next Regular"/>
                    <a:ea typeface="Avenir Next Regular"/>
                    <a:cs typeface="Avenir Next Regular"/>
                    <a:sym typeface="Avenir Next Regular"/>
                  </a:defRPr>
                </a:pPr>
                <a:endParaRPr/>
              </a:p>
            </p:txBody>
          </p:sp>
        </p:grpSp>
        <p:sp>
          <p:nvSpPr>
            <p:cNvPr id="103" name="Rectangle 102" descr="Handshake">
              <a:extLst>
                <a:ext uri="{FF2B5EF4-FFF2-40B4-BE49-F238E27FC236}">
                  <a16:creationId xmlns:a16="http://schemas.microsoft.com/office/drawing/2014/main" id="{E61365E5-0FEB-61CD-9A81-2D7FEAD026E7}"/>
                </a:ext>
              </a:extLst>
            </p:cNvPr>
            <p:cNvSpPr/>
            <p:nvPr/>
          </p:nvSpPr>
          <p:spPr>
            <a:xfrm>
              <a:off x="6204738" y="3418115"/>
              <a:ext cx="472172" cy="472172"/>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grpSp>
      <p:sp>
        <p:nvSpPr>
          <p:cNvPr id="101" name="Freeform: Shape 100">
            <a:extLst>
              <a:ext uri="{FF2B5EF4-FFF2-40B4-BE49-F238E27FC236}">
                <a16:creationId xmlns:a16="http://schemas.microsoft.com/office/drawing/2014/main" id="{532A989B-931C-BB3D-8749-644621C8AF01}"/>
              </a:ext>
            </a:extLst>
          </p:cNvPr>
          <p:cNvSpPr/>
          <p:nvPr/>
        </p:nvSpPr>
        <p:spPr>
          <a:xfrm>
            <a:off x="6473677" y="4117449"/>
            <a:ext cx="1182238" cy="395859"/>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000" b="1" kern="1200">
                <a:latin typeface="Arial" panose="020B0604020202020204" pitchFamily="34" charset="0"/>
                <a:cs typeface="Arial" panose="020B0604020202020204" pitchFamily="34" charset="0"/>
              </a:rPr>
              <a:t>Industry standard benefits</a:t>
            </a:r>
          </a:p>
        </p:txBody>
      </p:sp>
      <p:sp>
        <p:nvSpPr>
          <p:cNvPr id="116" name="Freeform: Shape 115">
            <a:extLst>
              <a:ext uri="{FF2B5EF4-FFF2-40B4-BE49-F238E27FC236}">
                <a16:creationId xmlns:a16="http://schemas.microsoft.com/office/drawing/2014/main" id="{74124E66-79FA-2172-0634-76972E009522}"/>
              </a:ext>
            </a:extLst>
          </p:cNvPr>
          <p:cNvSpPr/>
          <p:nvPr/>
        </p:nvSpPr>
        <p:spPr>
          <a:xfrm>
            <a:off x="3458877" y="1283444"/>
            <a:ext cx="1623424" cy="395860"/>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70000"/>
              </a:lnSpc>
              <a:spcBef>
                <a:spcPct val="0"/>
              </a:spcBef>
              <a:spcAft>
                <a:spcPct val="35000"/>
              </a:spcAft>
              <a:buNone/>
            </a:pPr>
            <a:r>
              <a:rPr lang="en-US" sz="1000" b="1" kern="1200">
                <a:latin typeface="Arial" panose="020B0604020202020204" pitchFamily="34" charset="0"/>
                <a:cs typeface="Arial" panose="020B0604020202020204" pitchFamily="34" charset="0"/>
              </a:rPr>
              <a:t>Recognized as Global </a:t>
            </a:r>
          </a:p>
          <a:p>
            <a:pPr marL="0" lvl="0" indent="0" algn="ctr" defTabSz="488950">
              <a:lnSpc>
                <a:spcPct val="70000"/>
              </a:lnSpc>
              <a:spcBef>
                <a:spcPct val="0"/>
              </a:spcBef>
              <a:spcAft>
                <a:spcPct val="35000"/>
              </a:spcAft>
              <a:buNone/>
            </a:pPr>
            <a:r>
              <a:rPr lang="en-US" sz="1000" b="1" kern="1200">
                <a:latin typeface="Arial" panose="020B0604020202020204" pitchFamily="34" charset="0"/>
                <a:cs typeface="Arial" panose="020B0604020202020204" pitchFamily="34" charset="0"/>
              </a:rPr>
              <a:t>Top Employer</a:t>
            </a:r>
          </a:p>
        </p:txBody>
      </p:sp>
      <p:sp>
        <p:nvSpPr>
          <p:cNvPr id="119" name="Rectangle 118" descr="Ribbon">
            <a:extLst>
              <a:ext uri="{FF2B5EF4-FFF2-40B4-BE49-F238E27FC236}">
                <a16:creationId xmlns:a16="http://schemas.microsoft.com/office/drawing/2014/main" id="{2B29C278-7A7D-785B-737C-1F1807318082}"/>
              </a:ext>
            </a:extLst>
          </p:cNvPr>
          <p:cNvSpPr/>
          <p:nvPr/>
        </p:nvSpPr>
        <p:spPr>
          <a:xfrm>
            <a:off x="4865254" y="1705723"/>
            <a:ext cx="350832" cy="350832"/>
          </a:xfrm>
          <a:prstGeom prst="rect">
            <a:avLst/>
          </a:prstGeom>
          <a: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2" name="Freeform: Shape 111">
            <a:extLst>
              <a:ext uri="{FF2B5EF4-FFF2-40B4-BE49-F238E27FC236}">
                <a16:creationId xmlns:a16="http://schemas.microsoft.com/office/drawing/2014/main" id="{11F8D923-88D7-4E1A-4424-ECC5AF2864A2}"/>
              </a:ext>
            </a:extLst>
          </p:cNvPr>
          <p:cNvSpPr/>
          <p:nvPr/>
        </p:nvSpPr>
        <p:spPr>
          <a:xfrm>
            <a:off x="2712760" y="2806418"/>
            <a:ext cx="1774261" cy="395859"/>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70000"/>
              </a:lnSpc>
              <a:spcBef>
                <a:spcPct val="0"/>
              </a:spcBef>
              <a:spcAft>
                <a:spcPct val="35000"/>
              </a:spcAft>
              <a:buNone/>
            </a:pPr>
            <a:r>
              <a:rPr lang="en-US" sz="1000" b="1" kern="1200">
                <a:latin typeface="Arial" panose="020B0604020202020204" pitchFamily="34" charset="0"/>
                <a:cs typeface="Arial" panose="020B0604020202020204" pitchFamily="34" charset="0"/>
              </a:rPr>
              <a:t>Consistent Revenue growth </a:t>
            </a:r>
          </a:p>
          <a:p>
            <a:pPr marL="0" lvl="0" indent="0" algn="ctr" defTabSz="488950">
              <a:lnSpc>
                <a:spcPct val="70000"/>
              </a:lnSpc>
              <a:spcBef>
                <a:spcPct val="0"/>
              </a:spcBef>
              <a:spcAft>
                <a:spcPct val="35000"/>
              </a:spcAft>
              <a:buNone/>
            </a:pPr>
            <a:r>
              <a:rPr lang="en-US" sz="1000" b="1" kern="1200">
                <a:latin typeface="Arial" panose="020B0604020202020204" pitchFamily="34" charset="0"/>
                <a:cs typeface="Arial" panose="020B0604020202020204" pitchFamily="34" charset="0"/>
              </a:rPr>
              <a:t>of 13-15% per year</a:t>
            </a:r>
          </a:p>
        </p:txBody>
      </p:sp>
      <p:sp>
        <p:nvSpPr>
          <p:cNvPr id="115" name="Rectangle 114" descr="Bar Graph with Upward Trend">
            <a:extLst>
              <a:ext uri="{FF2B5EF4-FFF2-40B4-BE49-F238E27FC236}">
                <a16:creationId xmlns:a16="http://schemas.microsoft.com/office/drawing/2014/main" id="{83ED26F3-5A8C-D991-4756-27BA67B80566}"/>
              </a:ext>
            </a:extLst>
          </p:cNvPr>
          <p:cNvSpPr/>
          <p:nvPr/>
        </p:nvSpPr>
        <p:spPr>
          <a:xfrm>
            <a:off x="4664604" y="2630594"/>
            <a:ext cx="365367" cy="365367"/>
          </a:xfrm>
          <a:prstGeom prst="rect">
            <a:avLst/>
          </a:prstGeom>
          <a: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08" name="Freeform: Shape 107">
            <a:extLst>
              <a:ext uri="{FF2B5EF4-FFF2-40B4-BE49-F238E27FC236}">
                <a16:creationId xmlns:a16="http://schemas.microsoft.com/office/drawing/2014/main" id="{67C97B8E-C375-C588-B9E3-97EED29E5527}"/>
              </a:ext>
            </a:extLst>
          </p:cNvPr>
          <p:cNvSpPr/>
          <p:nvPr/>
        </p:nvSpPr>
        <p:spPr>
          <a:xfrm>
            <a:off x="4068715" y="4136194"/>
            <a:ext cx="1753485" cy="339813"/>
          </a:xfrm>
          <a:custGeom>
            <a:avLst/>
            <a:gdLst>
              <a:gd name="connsiteX0" fmla="*/ 0 w 989648"/>
              <a:gd name="connsiteY0" fmla="*/ 0 h 395859"/>
              <a:gd name="connsiteX1" fmla="*/ 989648 w 989648"/>
              <a:gd name="connsiteY1" fmla="*/ 0 h 395859"/>
              <a:gd name="connsiteX2" fmla="*/ 989648 w 989648"/>
              <a:gd name="connsiteY2" fmla="*/ 395859 h 395859"/>
              <a:gd name="connsiteX3" fmla="*/ 0 w 989648"/>
              <a:gd name="connsiteY3" fmla="*/ 395859 h 395859"/>
              <a:gd name="connsiteX4" fmla="*/ 0 w 989648"/>
              <a:gd name="connsiteY4" fmla="*/ 0 h 39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48" h="395859">
                <a:moveTo>
                  <a:pt x="0" y="0"/>
                </a:moveTo>
                <a:lnTo>
                  <a:pt x="989648" y="0"/>
                </a:lnTo>
                <a:lnTo>
                  <a:pt x="989648" y="395859"/>
                </a:lnTo>
                <a:lnTo>
                  <a:pt x="0" y="395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488950">
              <a:lnSpc>
                <a:spcPct val="80000"/>
              </a:lnSpc>
              <a:spcBef>
                <a:spcPct val="0"/>
              </a:spcBef>
              <a:spcAft>
                <a:spcPct val="35000"/>
              </a:spcAft>
              <a:buNone/>
            </a:pPr>
            <a:r>
              <a:rPr lang="en-US" sz="1000" b="1" kern="1200">
                <a:latin typeface="Arial" panose="020B0604020202020204" pitchFamily="34" charset="0"/>
                <a:cs typeface="Arial" panose="020B0604020202020204" pitchFamily="34" charset="0"/>
              </a:rPr>
              <a:t>Quick career progression</a:t>
            </a:r>
          </a:p>
          <a:p>
            <a:pPr marL="0" lvl="0" indent="0" algn="ctr" defTabSz="488950">
              <a:lnSpc>
                <a:spcPct val="80000"/>
              </a:lnSpc>
              <a:spcBef>
                <a:spcPct val="0"/>
              </a:spcBef>
              <a:spcAft>
                <a:spcPct val="35000"/>
              </a:spcAft>
              <a:buNone/>
            </a:pPr>
            <a:r>
              <a:rPr lang="en-US" sz="1000" b="1" kern="1200">
                <a:latin typeface="Arial" panose="020B0604020202020204" pitchFamily="34" charset="0"/>
                <a:cs typeface="Arial" panose="020B0604020202020204" pitchFamily="34" charset="0"/>
              </a:rPr>
              <a:t>(Power Programmers)</a:t>
            </a:r>
          </a:p>
        </p:txBody>
      </p:sp>
      <p:sp>
        <p:nvSpPr>
          <p:cNvPr id="111" name="Rectangle 110" descr="Connections">
            <a:extLst>
              <a:ext uri="{FF2B5EF4-FFF2-40B4-BE49-F238E27FC236}">
                <a16:creationId xmlns:a16="http://schemas.microsoft.com/office/drawing/2014/main" id="{B91BB5B4-67E2-74D1-6743-538437799024}"/>
              </a:ext>
            </a:extLst>
          </p:cNvPr>
          <p:cNvSpPr/>
          <p:nvPr/>
        </p:nvSpPr>
        <p:spPr>
          <a:xfrm>
            <a:off x="5290535" y="3440365"/>
            <a:ext cx="396026" cy="396026"/>
          </a:xfrm>
          <a:prstGeom prst="rect">
            <a:avLst/>
          </a:prstGeom>
          <a: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pic>
        <p:nvPicPr>
          <p:cNvPr id="15" name="Graphic 14">
            <a:extLst>
              <a:ext uri="{FF2B5EF4-FFF2-40B4-BE49-F238E27FC236}">
                <a16:creationId xmlns:a16="http://schemas.microsoft.com/office/drawing/2014/main" id="{5CA342BD-4A13-6EE0-CC57-8612C83C6DC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532103" y="2420749"/>
            <a:ext cx="868466" cy="320434"/>
          </a:xfrm>
          <a:prstGeom prst="rect">
            <a:avLst/>
          </a:prstGeom>
        </p:spPr>
      </p:pic>
      <p:pic>
        <p:nvPicPr>
          <p:cNvPr id="11" name="Graphic 10">
            <a:extLst>
              <a:ext uri="{FF2B5EF4-FFF2-40B4-BE49-F238E27FC236}">
                <a16:creationId xmlns:a16="http://schemas.microsoft.com/office/drawing/2014/main" id="{75BB915A-DFD1-5305-29E6-E49E7360C9F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00561" y="1502416"/>
            <a:ext cx="459113" cy="459113"/>
          </a:xfrm>
          <a:prstGeom prst="rect">
            <a:avLst/>
          </a:prstGeom>
        </p:spPr>
      </p:pic>
    </p:spTree>
    <p:extLst>
      <p:ext uri="{BB962C8B-B14F-4D97-AF65-F5344CB8AC3E}">
        <p14:creationId xmlns:p14="http://schemas.microsoft.com/office/powerpoint/2010/main" val="274932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A picture containing person, person&#10;&#10;Description automatically generated">
            <a:extLst>
              <a:ext uri="{FF2B5EF4-FFF2-40B4-BE49-F238E27FC236}">
                <a16:creationId xmlns:a16="http://schemas.microsoft.com/office/drawing/2014/main" id="{EE948F3B-BA18-720D-BF96-F7902093821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3035" r="23035"/>
          <a:stretch/>
        </p:blipFill>
        <p:spPr>
          <a:xfrm>
            <a:off x="5463540" y="0"/>
            <a:ext cx="3680460" cy="4352925"/>
          </a:xfrm>
          <a:custGeom>
            <a:avLst/>
            <a:gdLst>
              <a:gd name="connsiteX0" fmla="*/ 0 w 4276725"/>
              <a:gd name="connsiteY0" fmla="*/ 0 h 4352925"/>
              <a:gd name="connsiteX1" fmla="*/ 4276725 w 4276725"/>
              <a:gd name="connsiteY1" fmla="*/ 0 h 4352925"/>
              <a:gd name="connsiteX2" fmla="*/ 4276725 w 4276725"/>
              <a:gd name="connsiteY2" fmla="*/ 4352925 h 4352925"/>
              <a:gd name="connsiteX3" fmla="*/ 950930 w 4276725"/>
              <a:gd name="connsiteY3" fmla="*/ 4352925 h 4352925"/>
              <a:gd name="connsiteX4" fmla="*/ 0 w 4276725"/>
              <a:gd name="connsiteY4" fmla="*/ 3401995 h 4352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6725" h="4352925">
                <a:moveTo>
                  <a:pt x="0" y="0"/>
                </a:moveTo>
                <a:lnTo>
                  <a:pt x="4276725" y="0"/>
                </a:lnTo>
                <a:lnTo>
                  <a:pt x="4276725" y="4352925"/>
                </a:lnTo>
                <a:lnTo>
                  <a:pt x="950930" y="4352925"/>
                </a:lnTo>
                <a:cubicBezTo>
                  <a:pt x="425746" y="4352925"/>
                  <a:pt x="0" y="3927179"/>
                  <a:pt x="0" y="3401995"/>
                </a:cubicBezTo>
                <a:close/>
              </a:path>
            </a:pathLst>
          </a:custGeom>
        </p:spPr>
      </p:pic>
      <p:sp>
        <p:nvSpPr>
          <p:cNvPr id="13" name="Rectangle: Diagonal Corners Rounded 12">
            <a:extLst>
              <a:ext uri="{FF2B5EF4-FFF2-40B4-BE49-F238E27FC236}">
                <a16:creationId xmlns:a16="http://schemas.microsoft.com/office/drawing/2014/main" id="{1E7B9463-BAD2-31E5-7876-117AC9EA29F2}"/>
              </a:ext>
            </a:extLst>
          </p:cNvPr>
          <p:cNvSpPr/>
          <p:nvPr/>
        </p:nvSpPr>
        <p:spPr>
          <a:xfrm>
            <a:off x="257319" y="732065"/>
            <a:ext cx="647412" cy="777874"/>
          </a:xfrm>
          <a:prstGeom prst="round2DiagRect">
            <a:avLst>
              <a:gd name="adj1" fmla="val 43666"/>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C65312D4-4D4A-9C53-CA1C-0FDF974DDCB8}"/>
              </a:ext>
            </a:extLst>
          </p:cNvPr>
          <p:cNvSpPr txBox="1"/>
          <p:nvPr/>
        </p:nvSpPr>
        <p:spPr>
          <a:xfrm>
            <a:off x="1025820" y="890170"/>
            <a:ext cx="1528763" cy="461665"/>
          </a:xfrm>
          <a:prstGeom prst="rect">
            <a:avLst/>
          </a:prstGeom>
          <a:noFill/>
        </p:spPr>
        <p:txBody>
          <a:bodyPr wrap="square" lIns="0" tIns="0" rIns="0" bIns="0" rtlCol="0" anchor="ctr">
            <a:spAutoFit/>
          </a:bodyPr>
          <a:lstStyle/>
          <a:p>
            <a:r>
              <a:rPr lang="en-US" sz="1600" b="1">
                <a:solidFill>
                  <a:schemeClr val="accent1"/>
                </a:solidFill>
                <a:latin typeface="Arial" panose="020B0604020202020204" pitchFamily="34" charset="0"/>
                <a:cs typeface="Arial" panose="020B0604020202020204" pitchFamily="34" charset="0"/>
              </a:rPr>
              <a:t>#1 </a:t>
            </a:r>
            <a:r>
              <a:rPr lang="en-US" sz="1400">
                <a:latin typeface="Arial" panose="020B0604020202020204" pitchFamily="34" charset="0"/>
                <a:cs typeface="Arial" panose="020B0604020202020204" pitchFamily="34" charset="0"/>
              </a:rPr>
              <a:t>hirer of Revature Talents</a:t>
            </a:r>
          </a:p>
        </p:txBody>
      </p:sp>
      <p:sp>
        <p:nvSpPr>
          <p:cNvPr id="54" name="Rectangle: Diagonal Corners Rounded 53">
            <a:extLst>
              <a:ext uri="{FF2B5EF4-FFF2-40B4-BE49-F238E27FC236}">
                <a16:creationId xmlns:a16="http://schemas.microsoft.com/office/drawing/2014/main" id="{EBFC4DA8-EDB2-4299-8273-49C433283F19}"/>
              </a:ext>
            </a:extLst>
          </p:cNvPr>
          <p:cNvSpPr/>
          <p:nvPr/>
        </p:nvSpPr>
        <p:spPr>
          <a:xfrm>
            <a:off x="2922414" y="732065"/>
            <a:ext cx="647412" cy="777874"/>
          </a:xfrm>
          <a:prstGeom prst="round2DiagRect">
            <a:avLst>
              <a:gd name="adj1" fmla="val 46609"/>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220A0336-500D-31A3-2175-A0BF18AFCA1C}"/>
              </a:ext>
            </a:extLst>
          </p:cNvPr>
          <p:cNvSpPr txBox="1"/>
          <p:nvPr/>
        </p:nvSpPr>
        <p:spPr>
          <a:xfrm>
            <a:off x="3681390" y="782448"/>
            <a:ext cx="1655457" cy="677108"/>
          </a:xfrm>
          <a:prstGeom prst="rect">
            <a:avLst/>
          </a:prstGeom>
          <a:noFill/>
        </p:spPr>
        <p:txBody>
          <a:bodyPr wrap="square" lIns="0" tIns="0" rIns="0" bIns="0" rtlCol="0" anchor="ctr">
            <a:spAutoFit/>
          </a:bodyPr>
          <a:lstStyle/>
          <a:p>
            <a:r>
              <a:rPr lang="en-US" sz="1600" b="1">
                <a:solidFill>
                  <a:schemeClr val="accent1"/>
                </a:solidFill>
                <a:latin typeface="Arial" panose="020B0604020202020204" pitchFamily="34" charset="0"/>
                <a:cs typeface="Arial" panose="020B0604020202020204" pitchFamily="34" charset="0"/>
              </a:rPr>
              <a:t>~ 800 </a:t>
            </a:r>
            <a:r>
              <a:rPr lang="en-US" sz="1400">
                <a:latin typeface="Arial" panose="020B0604020202020204" pitchFamily="34" charset="0"/>
                <a:cs typeface="Arial" panose="020B0604020202020204" pitchFamily="34" charset="0"/>
              </a:rPr>
              <a:t>yearly Hires from Revature in Digital technologies</a:t>
            </a:r>
          </a:p>
        </p:txBody>
      </p:sp>
      <p:sp>
        <p:nvSpPr>
          <p:cNvPr id="57" name="Rectangle: Diagonal Corners Rounded 56">
            <a:extLst>
              <a:ext uri="{FF2B5EF4-FFF2-40B4-BE49-F238E27FC236}">
                <a16:creationId xmlns:a16="http://schemas.microsoft.com/office/drawing/2014/main" id="{E2DCDF5D-57B1-B725-D45B-80E7A6DEFFB4}"/>
              </a:ext>
            </a:extLst>
          </p:cNvPr>
          <p:cNvSpPr/>
          <p:nvPr/>
        </p:nvSpPr>
        <p:spPr>
          <a:xfrm>
            <a:off x="257319" y="2002065"/>
            <a:ext cx="647412" cy="777874"/>
          </a:xfrm>
          <a:prstGeom prst="round2DiagRect">
            <a:avLst>
              <a:gd name="adj1" fmla="val 46609"/>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B152BDBA-CA58-3072-E0D6-A3D2918D6367}"/>
              </a:ext>
            </a:extLst>
          </p:cNvPr>
          <p:cNvSpPr txBox="1"/>
          <p:nvPr/>
        </p:nvSpPr>
        <p:spPr>
          <a:xfrm>
            <a:off x="1025820" y="2052448"/>
            <a:ext cx="1528763" cy="677108"/>
          </a:xfrm>
          <a:prstGeom prst="rect">
            <a:avLst/>
          </a:prstGeom>
          <a:noFill/>
        </p:spPr>
        <p:txBody>
          <a:bodyPr wrap="square" lIns="0" tIns="0" rIns="0" bIns="0" rtlCol="0" anchor="ctr">
            <a:spAutoFit/>
          </a:bodyPr>
          <a:lstStyle/>
          <a:p>
            <a:r>
              <a:rPr lang="en-US" sz="1600" b="1">
                <a:solidFill>
                  <a:schemeClr val="accent1"/>
                </a:solidFill>
                <a:latin typeface="Arial" panose="020B0604020202020204" pitchFamily="34" charset="0"/>
                <a:cs typeface="Arial" panose="020B0604020202020204" pitchFamily="34" charset="0"/>
              </a:rPr>
              <a:t>7500 </a:t>
            </a:r>
            <a:r>
              <a:rPr lang="en-US" sz="1400">
                <a:latin typeface="Arial" panose="020B0604020202020204" pitchFamily="34" charset="0"/>
                <a:cs typeface="Arial" panose="020B0604020202020204" pitchFamily="34" charset="0"/>
              </a:rPr>
              <a:t>campus hires in North America</a:t>
            </a:r>
          </a:p>
        </p:txBody>
      </p:sp>
      <p:sp>
        <p:nvSpPr>
          <p:cNvPr id="60" name="Rectangle: Diagonal Corners Rounded 59">
            <a:extLst>
              <a:ext uri="{FF2B5EF4-FFF2-40B4-BE49-F238E27FC236}">
                <a16:creationId xmlns:a16="http://schemas.microsoft.com/office/drawing/2014/main" id="{C31106E9-4D12-69B5-88AD-7F6DE056AFDC}"/>
              </a:ext>
            </a:extLst>
          </p:cNvPr>
          <p:cNvSpPr/>
          <p:nvPr/>
        </p:nvSpPr>
        <p:spPr>
          <a:xfrm>
            <a:off x="2922414" y="2002065"/>
            <a:ext cx="647412" cy="777874"/>
          </a:xfrm>
          <a:prstGeom prst="round2DiagRect">
            <a:avLst>
              <a:gd name="adj1" fmla="val 46609"/>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D05726DF-44A8-C210-1287-4A1D6C798030}"/>
              </a:ext>
            </a:extLst>
          </p:cNvPr>
          <p:cNvSpPr txBox="1"/>
          <p:nvPr/>
        </p:nvSpPr>
        <p:spPr>
          <a:xfrm>
            <a:off x="3681390" y="2160169"/>
            <a:ext cx="1528763" cy="430887"/>
          </a:xfrm>
          <a:prstGeom prst="rect">
            <a:avLst/>
          </a:prstGeom>
          <a:noFill/>
        </p:spPr>
        <p:txBody>
          <a:bodyPr wrap="square" lIns="0" tIns="0" rIns="0" bIns="0" rtlCol="0" anchor="ctr">
            <a:spAutoFit/>
          </a:bodyPr>
          <a:lstStyle/>
          <a:p>
            <a:r>
              <a:rPr lang="en-US" sz="1400">
                <a:latin typeface="Arial" panose="020B0604020202020204" pitchFamily="34" charset="0"/>
                <a:cs typeface="Arial" panose="020B0604020202020204" pitchFamily="34" charset="0"/>
              </a:rPr>
              <a:t>Highly governed relationship</a:t>
            </a:r>
          </a:p>
        </p:txBody>
      </p:sp>
      <p:sp>
        <p:nvSpPr>
          <p:cNvPr id="63" name="Rectangle: Diagonal Corners Rounded 62">
            <a:extLst>
              <a:ext uri="{FF2B5EF4-FFF2-40B4-BE49-F238E27FC236}">
                <a16:creationId xmlns:a16="http://schemas.microsoft.com/office/drawing/2014/main" id="{2BBB6A77-DC78-5268-4F1A-7E74E21CF580}"/>
              </a:ext>
            </a:extLst>
          </p:cNvPr>
          <p:cNvSpPr/>
          <p:nvPr/>
        </p:nvSpPr>
        <p:spPr>
          <a:xfrm>
            <a:off x="257319" y="3272065"/>
            <a:ext cx="647412" cy="777874"/>
          </a:xfrm>
          <a:prstGeom prst="round2DiagRect">
            <a:avLst>
              <a:gd name="adj1" fmla="val 46609"/>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08071223-ACCE-2546-04E9-C816EEF782E2}"/>
              </a:ext>
            </a:extLst>
          </p:cNvPr>
          <p:cNvSpPr txBox="1"/>
          <p:nvPr/>
        </p:nvSpPr>
        <p:spPr>
          <a:xfrm>
            <a:off x="1025820" y="3445558"/>
            <a:ext cx="1528763" cy="430887"/>
          </a:xfrm>
          <a:prstGeom prst="rect">
            <a:avLst/>
          </a:prstGeom>
          <a:noFill/>
        </p:spPr>
        <p:txBody>
          <a:bodyPr wrap="square" lIns="0" tIns="0" rIns="0" bIns="0" rtlCol="0" anchor="ctr">
            <a:spAutoFit/>
          </a:bodyPr>
          <a:lstStyle/>
          <a:p>
            <a:r>
              <a:rPr lang="en-US" sz="1400">
                <a:latin typeface="Arial" panose="020B0604020202020204" pitchFamily="34" charset="0"/>
                <a:cs typeface="Arial" panose="020B0604020202020204" pitchFamily="34" charset="0"/>
              </a:rPr>
              <a:t>Customized training for Infosys</a:t>
            </a:r>
          </a:p>
        </p:txBody>
      </p:sp>
      <p:sp>
        <p:nvSpPr>
          <p:cNvPr id="66" name="Rectangle: Diagonal Corners Rounded 65">
            <a:extLst>
              <a:ext uri="{FF2B5EF4-FFF2-40B4-BE49-F238E27FC236}">
                <a16:creationId xmlns:a16="http://schemas.microsoft.com/office/drawing/2014/main" id="{CCCC722B-DCFB-33C2-3170-141A717C83BD}"/>
              </a:ext>
            </a:extLst>
          </p:cNvPr>
          <p:cNvSpPr/>
          <p:nvPr/>
        </p:nvSpPr>
        <p:spPr>
          <a:xfrm>
            <a:off x="2922414" y="3272065"/>
            <a:ext cx="647412" cy="777874"/>
          </a:xfrm>
          <a:prstGeom prst="round2DiagRect">
            <a:avLst>
              <a:gd name="adj1" fmla="val 46609"/>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8A98CE35-7523-D055-09DF-5FD690BD2C3E}"/>
              </a:ext>
            </a:extLst>
          </p:cNvPr>
          <p:cNvSpPr txBox="1"/>
          <p:nvPr/>
        </p:nvSpPr>
        <p:spPr>
          <a:xfrm>
            <a:off x="3681390" y="3414780"/>
            <a:ext cx="1528763" cy="461665"/>
          </a:xfrm>
          <a:prstGeom prst="rect">
            <a:avLst/>
          </a:prstGeom>
          <a:noFill/>
        </p:spPr>
        <p:txBody>
          <a:bodyPr wrap="square" lIns="0" tIns="0" rIns="0" bIns="0" rtlCol="0" anchor="ctr">
            <a:spAutoFit/>
          </a:bodyPr>
          <a:lstStyle/>
          <a:p>
            <a:r>
              <a:rPr lang="en-US" sz="1600" b="1">
                <a:solidFill>
                  <a:schemeClr val="accent1"/>
                </a:solidFill>
                <a:latin typeface="Arial" panose="020B0604020202020204" pitchFamily="34" charset="0"/>
                <a:cs typeface="Arial" panose="020B0604020202020204" pitchFamily="34" charset="0"/>
              </a:rPr>
              <a:t>&gt;5 years </a:t>
            </a:r>
            <a:r>
              <a:rPr lang="en-US" sz="1400">
                <a:latin typeface="Arial" panose="020B0604020202020204" pitchFamily="34" charset="0"/>
                <a:cs typeface="Arial" panose="020B0604020202020204" pitchFamily="34" charset="0"/>
              </a:rPr>
              <a:t>of engagement</a:t>
            </a:r>
          </a:p>
        </p:txBody>
      </p:sp>
      <p:pic>
        <p:nvPicPr>
          <p:cNvPr id="69" name="Graphic 68">
            <a:extLst>
              <a:ext uri="{FF2B5EF4-FFF2-40B4-BE49-F238E27FC236}">
                <a16:creationId xmlns:a16="http://schemas.microsoft.com/office/drawing/2014/main" id="{95AAE943-72C9-70DF-808F-0C6A828104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9740" y="924001"/>
            <a:ext cx="418334" cy="418334"/>
          </a:xfrm>
          <a:prstGeom prst="rect">
            <a:avLst/>
          </a:prstGeom>
        </p:spPr>
      </p:pic>
      <p:sp>
        <p:nvSpPr>
          <p:cNvPr id="30" name="TextBox 29">
            <a:extLst>
              <a:ext uri="{FF2B5EF4-FFF2-40B4-BE49-F238E27FC236}">
                <a16:creationId xmlns:a16="http://schemas.microsoft.com/office/drawing/2014/main" id="{1D008F9E-73E9-7B9B-7325-9A153CEF77A4}"/>
              </a:ext>
            </a:extLst>
          </p:cNvPr>
          <p:cNvSpPr txBox="1"/>
          <p:nvPr/>
        </p:nvSpPr>
        <p:spPr>
          <a:xfrm>
            <a:off x="501853" y="889780"/>
            <a:ext cx="127561" cy="276999"/>
          </a:xfrm>
          <a:prstGeom prst="rect">
            <a:avLst/>
          </a:prstGeom>
          <a:noFill/>
        </p:spPr>
        <p:txBody>
          <a:bodyPr wrap="square" rtlCol="0">
            <a:spAutoFit/>
          </a:bodyPr>
          <a:lstStyle/>
          <a:p>
            <a:r>
              <a:rPr lang="en-US" sz="1200" b="1"/>
              <a:t>1</a:t>
            </a:r>
          </a:p>
        </p:txBody>
      </p:sp>
      <p:pic>
        <p:nvPicPr>
          <p:cNvPr id="70" name="Graphic 69">
            <a:extLst>
              <a:ext uri="{FF2B5EF4-FFF2-40B4-BE49-F238E27FC236}">
                <a16:creationId xmlns:a16="http://schemas.microsoft.com/office/drawing/2014/main" id="{4CB105C8-565A-6D2F-20CF-F1833D446B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0192" y="917543"/>
            <a:ext cx="421316" cy="421316"/>
          </a:xfrm>
          <a:prstGeom prst="rect">
            <a:avLst/>
          </a:prstGeom>
        </p:spPr>
      </p:pic>
      <p:pic>
        <p:nvPicPr>
          <p:cNvPr id="72" name="Graphic 71">
            <a:extLst>
              <a:ext uri="{FF2B5EF4-FFF2-40B4-BE49-F238E27FC236}">
                <a16:creationId xmlns:a16="http://schemas.microsoft.com/office/drawing/2014/main" id="{03D051F5-5135-5814-E515-365129C3B1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1993" y="2190947"/>
            <a:ext cx="469911" cy="430887"/>
          </a:xfrm>
          <a:prstGeom prst="rect">
            <a:avLst/>
          </a:prstGeom>
        </p:spPr>
      </p:pic>
      <p:pic>
        <p:nvPicPr>
          <p:cNvPr id="73" name="Graphic 72">
            <a:extLst>
              <a:ext uri="{FF2B5EF4-FFF2-40B4-BE49-F238E27FC236}">
                <a16:creationId xmlns:a16="http://schemas.microsoft.com/office/drawing/2014/main" id="{80B96823-1198-05CE-1046-952CF3E38E4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5476" y="3445558"/>
            <a:ext cx="461288" cy="461288"/>
          </a:xfrm>
          <a:prstGeom prst="rect">
            <a:avLst/>
          </a:prstGeom>
        </p:spPr>
      </p:pic>
      <p:pic>
        <p:nvPicPr>
          <p:cNvPr id="74" name="Graphic 73">
            <a:extLst>
              <a:ext uri="{FF2B5EF4-FFF2-40B4-BE49-F238E27FC236}">
                <a16:creationId xmlns:a16="http://schemas.microsoft.com/office/drawing/2014/main" id="{52DFC9F5-286B-ADCE-ED6C-93B8016B366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09388" y="2160169"/>
            <a:ext cx="452120" cy="452120"/>
          </a:xfrm>
          <a:prstGeom prst="rect">
            <a:avLst/>
          </a:prstGeom>
        </p:spPr>
      </p:pic>
      <p:pic>
        <p:nvPicPr>
          <p:cNvPr id="75" name="Graphic 74">
            <a:extLst>
              <a:ext uri="{FF2B5EF4-FFF2-40B4-BE49-F238E27FC236}">
                <a16:creationId xmlns:a16="http://schemas.microsoft.com/office/drawing/2014/main" id="{BD2E6BB6-6DE9-8685-BBF3-4BBA7E65BEB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6426" y="3456403"/>
            <a:ext cx="409198" cy="409196"/>
          </a:xfrm>
          <a:prstGeom prst="rect">
            <a:avLst/>
          </a:prstGeom>
        </p:spPr>
      </p:pic>
      <p:pic>
        <p:nvPicPr>
          <p:cNvPr id="76" name="Picture 4">
            <a:extLst>
              <a:ext uri="{FF2B5EF4-FFF2-40B4-BE49-F238E27FC236}">
                <a16:creationId xmlns:a16="http://schemas.microsoft.com/office/drawing/2014/main" id="{C2D2881F-CD58-0D6B-840D-7062834CAB5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7319" y="174729"/>
            <a:ext cx="902428" cy="36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3236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Diagonal Corners Rounded 35">
            <a:extLst>
              <a:ext uri="{FF2B5EF4-FFF2-40B4-BE49-F238E27FC236}">
                <a16:creationId xmlns:a16="http://schemas.microsoft.com/office/drawing/2014/main" id="{EADADDB4-F9F3-97E0-4BE3-FCC2C82EC5E2}"/>
              </a:ext>
            </a:extLst>
          </p:cNvPr>
          <p:cNvSpPr/>
          <p:nvPr/>
        </p:nvSpPr>
        <p:spPr>
          <a:xfrm flipH="1" flipV="1">
            <a:off x="161925" y="2208069"/>
            <a:ext cx="5338330" cy="1067665"/>
          </a:xfrm>
          <a:prstGeom prst="round2Diag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Placeholder 53" descr="A picture containing person, suit&#10;&#10;Description automatically generated">
            <a:extLst>
              <a:ext uri="{FF2B5EF4-FFF2-40B4-BE49-F238E27FC236}">
                <a16:creationId xmlns:a16="http://schemas.microsoft.com/office/drawing/2014/main" id="{B66F8F05-BC74-94F6-18A8-8E9C742973E0}"/>
              </a:ext>
            </a:extLst>
          </p:cNvPr>
          <p:cNvPicPr>
            <a:picLocks noGrp="1" noChangeAspect="1"/>
          </p:cNvPicPr>
          <p:nvPr>
            <p:ph type="pic" sz="quarter" idx="14"/>
          </p:nvPr>
        </p:nvPicPr>
        <p:blipFill rotWithShape="1">
          <a:blip r:embed="rId2" cstate="print">
            <a:extLst>
              <a:ext uri="{28A0092B-C50C-407E-A947-70E740481C1C}">
                <a14:useLocalDpi xmlns:a14="http://schemas.microsoft.com/office/drawing/2010/main" val="0"/>
              </a:ext>
            </a:extLst>
          </a:blip>
          <a:srcRect l="54952" r="6076" b="1602"/>
          <a:stretch/>
        </p:blipFill>
        <p:spPr>
          <a:xfrm>
            <a:off x="5666382" y="-1"/>
            <a:ext cx="3477617" cy="4636621"/>
          </a:xfrm>
          <a:custGeom>
            <a:avLst/>
            <a:gdLst>
              <a:gd name="connsiteX0" fmla="*/ 0 w 3477617"/>
              <a:gd name="connsiteY0" fmla="*/ 0 h 4636621"/>
              <a:gd name="connsiteX1" fmla="*/ 3477617 w 3477617"/>
              <a:gd name="connsiteY1" fmla="*/ 0 h 4636621"/>
              <a:gd name="connsiteX2" fmla="*/ 3477617 w 3477617"/>
              <a:gd name="connsiteY2" fmla="*/ 4636621 h 4636621"/>
              <a:gd name="connsiteX3" fmla="*/ 579615 w 3477617"/>
              <a:gd name="connsiteY3" fmla="*/ 4636621 h 4636621"/>
              <a:gd name="connsiteX4" fmla="*/ 0 w 3477617"/>
              <a:gd name="connsiteY4" fmla="*/ 4057006 h 4636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617" h="4636621">
                <a:moveTo>
                  <a:pt x="0" y="0"/>
                </a:moveTo>
                <a:lnTo>
                  <a:pt x="3477617" y="0"/>
                </a:lnTo>
                <a:lnTo>
                  <a:pt x="3477617" y="4636621"/>
                </a:lnTo>
                <a:lnTo>
                  <a:pt x="579615" y="4636621"/>
                </a:lnTo>
                <a:cubicBezTo>
                  <a:pt x="259502" y="4636621"/>
                  <a:pt x="0" y="4377119"/>
                  <a:pt x="0" y="4057006"/>
                </a:cubicBezTo>
                <a:close/>
              </a:path>
            </a:pathLst>
          </a:custGeom>
          <a:blipFill dpi="0" rotWithShape="1">
            <a:blip r:embed="rId3">
              <a:extLst>
                <a:ext uri="{28A0092B-C50C-407E-A947-70E740481C1C}">
                  <a14:useLocalDpi xmlns:a14="http://schemas.microsoft.com/office/drawing/2010/main" val="0"/>
                </a:ext>
              </a:extLst>
            </a:blip>
            <a:srcRect/>
            <a:stretch>
              <a:fillRect l="-12826" r="-12826"/>
            </a:stretch>
          </a:blipFill>
        </p:spPr>
      </p:pic>
      <p:sp>
        <p:nvSpPr>
          <p:cNvPr id="9" name="Rectangle: Rounded Corners 8">
            <a:extLst>
              <a:ext uri="{FF2B5EF4-FFF2-40B4-BE49-F238E27FC236}">
                <a16:creationId xmlns:a16="http://schemas.microsoft.com/office/drawing/2014/main" id="{8AF07291-3AED-42F8-6A7B-907C29372B9E}"/>
              </a:ext>
            </a:extLst>
          </p:cNvPr>
          <p:cNvSpPr/>
          <p:nvPr/>
        </p:nvSpPr>
        <p:spPr>
          <a:xfrm>
            <a:off x="1362408" y="908164"/>
            <a:ext cx="45719" cy="3537945"/>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4C9524C2-20A9-AA7C-8AB7-EF52F040AC32}"/>
              </a:ext>
            </a:extLst>
          </p:cNvPr>
          <p:cNvGrpSpPr/>
          <p:nvPr/>
        </p:nvGrpSpPr>
        <p:grpSpPr>
          <a:xfrm>
            <a:off x="315610" y="1493978"/>
            <a:ext cx="3769992" cy="153888"/>
            <a:chOff x="228600" y="1662321"/>
            <a:chExt cx="3769992" cy="153888"/>
          </a:xfrm>
        </p:grpSpPr>
        <p:sp>
          <p:nvSpPr>
            <p:cNvPr id="17" name="TextBox 16">
              <a:extLst>
                <a:ext uri="{FF2B5EF4-FFF2-40B4-BE49-F238E27FC236}">
                  <a16:creationId xmlns:a16="http://schemas.microsoft.com/office/drawing/2014/main" id="{D2ACC912-648B-86F0-10E2-C4A18C55E401}"/>
                </a:ext>
              </a:extLst>
            </p:cNvPr>
            <p:cNvSpPr txBox="1"/>
            <p:nvPr/>
          </p:nvSpPr>
          <p:spPr>
            <a:xfrm>
              <a:off x="228600" y="1662321"/>
              <a:ext cx="906780" cy="153888"/>
            </a:xfrm>
            <a:prstGeom prst="rect">
              <a:avLst/>
            </a:prstGeom>
            <a:noFill/>
          </p:spPr>
          <p:txBody>
            <a:bodyPr wrap="square" lIns="0" tIns="0" rIns="0" bIns="0" rtlCol="0">
              <a:spAutoFit/>
            </a:bodyPr>
            <a:lstStyle/>
            <a:p>
              <a:r>
                <a:rPr lang="en-US" sz="1000" b="1">
                  <a:solidFill>
                    <a:schemeClr val="bg1">
                      <a:lumMod val="50000"/>
                    </a:schemeClr>
                  </a:solidFill>
                  <a:latin typeface="Arial" panose="020B0604020202020204" pitchFamily="34" charset="0"/>
                  <a:cs typeface="Arial" panose="020B0604020202020204" pitchFamily="34" charset="0"/>
                </a:rPr>
                <a:t>Insight</a:t>
              </a:r>
            </a:p>
          </p:txBody>
        </p:sp>
        <p:sp>
          <p:nvSpPr>
            <p:cNvPr id="18" name="TextBox 17">
              <a:extLst>
                <a:ext uri="{FF2B5EF4-FFF2-40B4-BE49-F238E27FC236}">
                  <a16:creationId xmlns:a16="http://schemas.microsoft.com/office/drawing/2014/main" id="{EA258B3A-C3BF-63D6-A5BD-CC2BB7A5B65D}"/>
                </a:ext>
              </a:extLst>
            </p:cNvPr>
            <p:cNvSpPr txBox="1"/>
            <p:nvPr/>
          </p:nvSpPr>
          <p:spPr>
            <a:xfrm>
              <a:off x="1609725" y="1677710"/>
              <a:ext cx="1122044"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Applied</a:t>
              </a:r>
            </a:p>
          </p:txBody>
        </p:sp>
        <p:sp>
          <p:nvSpPr>
            <p:cNvPr id="19" name="TextBox 18">
              <a:extLst>
                <a:ext uri="{FF2B5EF4-FFF2-40B4-BE49-F238E27FC236}">
                  <a16:creationId xmlns:a16="http://schemas.microsoft.com/office/drawing/2014/main" id="{0740EEF3-8292-4470-D89B-8EDC56B882A3}"/>
                </a:ext>
              </a:extLst>
            </p:cNvPr>
            <p:cNvSpPr txBox="1"/>
            <p:nvPr/>
          </p:nvSpPr>
          <p:spPr>
            <a:xfrm>
              <a:off x="2876549" y="1677710"/>
              <a:ext cx="1122043"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ata Analytics </a:t>
              </a:r>
            </a:p>
          </p:txBody>
        </p:sp>
      </p:grpSp>
      <p:grpSp>
        <p:nvGrpSpPr>
          <p:cNvPr id="52" name="Group 51">
            <a:extLst>
              <a:ext uri="{FF2B5EF4-FFF2-40B4-BE49-F238E27FC236}">
                <a16:creationId xmlns:a16="http://schemas.microsoft.com/office/drawing/2014/main" id="{F6FDCF02-6742-065A-9ADA-8D03AFFD9486}"/>
              </a:ext>
            </a:extLst>
          </p:cNvPr>
          <p:cNvGrpSpPr/>
          <p:nvPr/>
        </p:nvGrpSpPr>
        <p:grpSpPr>
          <a:xfrm>
            <a:off x="315610" y="1021824"/>
            <a:ext cx="5052059" cy="375753"/>
            <a:chOff x="228600" y="1126599"/>
            <a:chExt cx="5052059" cy="375753"/>
          </a:xfrm>
        </p:grpSpPr>
        <p:sp>
          <p:nvSpPr>
            <p:cNvPr id="11" name="Oval 10">
              <a:extLst>
                <a:ext uri="{FF2B5EF4-FFF2-40B4-BE49-F238E27FC236}">
                  <a16:creationId xmlns:a16="http://schemas.microsoft.com/office/drawing/2014/main" id="{F89D0960-2E98-A101-B8C7-73A1DDB1DD3A}"/>
                </a:ext>
              </a:extLst>
            </p:cNvPr>
            <p:cNvSpPr/>
            <p:nvPr/>
          </p:nvSpPr>
          <p:spPr>
            <a:xfrm>
              <a:off x="1216865" y="1126599"/>
              <a:ext cx="154298" cy="154298"/>
            </a:xfrm>
            <a:prstGeom prst="ellipse">
              <a:avLst/>
            </a:prstGeom>
            <a:solidFill>
              <a:schemeClr val="bg1">
                <a:lumMod val="65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2" name="TextBox 11">
              <a:extLst>
                <a:ext uri="{FF2B5EF4-FFF2-40B4-BE49-F238E27FC236}">
                  <a16:creationId xmlns:a16="http://schemas.microsoft.com/office/drawing/2014/main" id="{7A1AEE7F-02C4-9711-7127-6284F315AF14}"/>
                </a:ext>
              </a:extLst>
            </p:cNvPr>
            <p:cNvSpPr txBox="1"/>
            <p:nvPr/>
          </p:nvSpPr>
          <p:spPr>
            <a:xfrm>
              <a:off x="228600" y="1133020"/>
              <a:ext cx="906780" cy="153888"/>
            </a:xfrm>
            <a:prstGeom prst="rect">
              <a:avLst/>
            </a:prstGeom>
            <a:noFill/>
          </p:spPr>
          <p:txBody>
            <a:bodyPr wrap="square" lIns="0" tIns="0" rIns="0" bIns="0" rtlCol="0">
              <a:spAutoFit/>
            </a:bodyPr>
            <a:lstStyle/>
            <a:p>
              <a:r>
                <a:rPr lang="en-US" sz="1000" b="1">
                  <a:solidFill>
                    <a:schemeClr val="bg1">
                      <a:lumMod val="50000"/>
                    </a:schemeClr>
                  </a:solidFill>
                  <a:latin typeface="Arial" panose="020B0604020202020204" pitchFamily="34" charset="0"/>
                  <a:cs typeface="Arial" panose="020B0604020202020204" pitchFamily="34" charset="0"/>
                </a:rPr>
                <a:t>Experience</a:t>
              </a:r>
            </a:p>
          </p:txBody>
        </p:sp>
        <p:sp>
          <p:nvSpPr>
            <p:cNvPr id="13" name="TextBox 12">
              <a:extLst>
                <a:ext uri="{FF2B5EF4-FFF2-40B4-BE49-F238E27FC236}">
                  <a16:creationId xmlns:a16="http://schemas.microsoft.com/office/drawing/2014/main" id="{82B9BBE3-E38B-F0B4-0E99-F81556AB037A}"/>
                </a:ext>
              </a:extLst>
            </p:cNvPr>
            <p:cNvSpPr txBox="1"/>
            <p:nvPr/>
          </p:nvSpPr>
          <p:spPr>
            <a:xfrm>
              <a:off x="1609725" y="1133020"/>
              <a:ext cx="1122044" cy="24622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igital Marketing</a:t>
              </a:r>
            </a:p>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igital Experience</a:t>
              </a:r>
            </a:p>
          </p:txBody>
        </p:sp>
        <p:sp>
          <p:nvSpPr>
            <p:cNvPr id="14" name="TextBox 13">
              <a:extLst>
                <a:ext uri="{FF2B5EF4-FFF2-40B4-BE49-F238E27FC236}">
                  <a16:creationId xmlns:a16="http://schemas.microsoft.com/office/drawing/2014/main" id="{D37E5A7E-DFBF-A50E-7A75-2230FEACCB80}"/>
                </a:ext>
              </a:extLst>
            </p:cNvPr>
            <p:cNvSpPr txBox="1"/>
            <p:nvPr/>
          </p:nvSpPr>
          <p:spPr>
            <a:xfrm>
              <a:off x="2876549" y="1133020"/>
              <a:ext cx="1122043" cy="369332"/>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igital Commerce</a:t>
              </a:r>
            </a:p>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Infosys Metaverse Foundry</a:t>
              </a:r>
            </a:p>
          </p:txBody>
        </p:sp>
        <p:sp>
          <p:nvSpPr>
            <p:cNvPr id="15" name="TextBox 14">
              <a:extLst>
                <a:ext uri="{FF2B5EF4-FFF2-40B4-BE49-F238E27FC236}">
                  <a16:creationId xmlns:a16="http://schemas.microsoft.com/office/drawing/2014/main" id="{53AD37ED-9BC6-CB60-1174-BC35596B1323}"/>
                </a:ext>
              </a:extLst>
            </p:cNvPr>
            <p:cNvSpPr txBox="1"/>
            <p:nvPr/>
          </p:nvSpPr>
          <p:spPr>
            <a:xfrm>
              <a:off x="4143374" y="1133020"/>
              <a:ext cx="1137285"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igital Interactions</a:t>
              </a:r>
            </a:p>
          </p:txBody>
        </p:sp>
      </p:grpSp>
      <p:grpSp>
        <p:nvGrpSpPr>
          <p:cNvPr id="50" name="Group 49">
            <a:extLst>
              <a:ext uri="{FF2B5EF4-FFF2-40B4-BE49-F238E27FC236}">
                <a16:creationId xmlns:a16="http://schemas.microsoft.com/office/drawing/2014/main" id="{F5CA107A-7C2F-C378-FE22-2E70AB4B6F60}"/>
              </a:ext>
            </a:extLst>
          </p:cNvPr>
          <p:cNvGrpSpPr/>
          <p:nvPr/>
        </p:nvGrpSpPr>
        <p:grpSpPr>
          <a:xfrm>
            <a:off x="315610" y="1885436"/>
            <a:ext cx="5052059" cy="261610"/>
            <a:chOff x="228600" y="2009942"/>
            <a:chExt cx="5052059" cy="261610"/>
          </a:xfrm>
        </p:grpSpPr>
        <p:sp>
          <p:nvSpPr>
            <p:cNvPr id="25" name="TextBox 24">
              <a:extLst>
                <a:ext uri="{FF2B5EF4-FFF2-40B4-BE49-F238E27FC236}">
                  <a16:creationId xmlns:a16="http://schemas.microsoft.com/office/drawing/2014/main" id="{36F91124-71A1-AD4A-8F98-1654EA4FDFCF}"/>
                </a:ext>
              </a:extLst>
            </p:cNvPr>
            <p:cNvSpPr txBox="1"/>
            <p:nvPr/>
          </p:nvSpPr>
          <p:spPr>
            <a:xfrm>
              <a:off x="228600" y="2009942"/>
              <a:ext cx="906780" cy="153888"/>
            </a:xfrm>
            <a:prstGeom prst="rect">
              <a:avLst/>
            </a:prstGeom>
            <a:noFill/>
          </p:spPr>
          <p:txBody>
            <a:bodyPr wrap="square" lIns="0" tIns="0" rIns="0" bIns="0" rtlCol="0">
              <a:spAutoFit/>
            </a:bodyPr>
            <a:lstStyle/>
            <a:p>
              <a:r>
                <a:rPr lang="en-US" sz="1000" b="1">
                  <a:solidFill>
                    <a:schemeClr val="bg1">
                      <a:lumMod val="50000"/>
                    </a:schemeClr>
                  </a:solidFill>
                  <a:latin typeface="Arial" panose="020B0604020202020204" pitchFamily="34" charset="0"/>
                  <a:cs typeface="Arial" panose="020B0604020202020204" pitchFamily="34" charset="0"/>
                </a:rPr>
                <a:t>Innovate</a:t>
              </a:r>
            </a:p>
          </p:txBody>
        </p:sp>
        <p:sp>
          <p:nvSpPr>
            <p:cNvPr id="26" name="TextBox 25">
              <a:extLst>
                <a:ext uri="{FF2B5EF4-FFF2-40B4-BE49-F238E27FC236}">
                  <a16:creationId xmlns:a16="http://schemas.microsoft.com/office/drawing/2014/main" id="{8AD5506F-50B2-0026-1A5D-96170C294C7A}"/>
                </a:ext>
              </a:extLst>
            </p:cNvPr>
            <p:cNvSpPr txBox="1"/>
            <p:nvPr/>
          </p:nvSpPr>
          <p:spPr>
            <a:xfrm>
              <a:off x="1609725" y="2025331"/>
              <a:ext cx="1122044"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Blockchain</a:t>
              </a:r>
            </a:p>
          </p:txBody>
        </p:sp>
        <p:sp>
          <p:nvSpPr>
            <p:cNvPr id="27" name="TextBox 26">
              <a:extLst>
                <a:ext uri="{FF2B5EF4-FFF2-40B4-BE49-F238E27FC236}">
                  <a16:creationId xmlns:a16="http://schemas.microsoft.com/office/drawing/2014/main" id="{9A34204E-295D-E28E-B691-6E7519284B61}"/>
                </a:ext>
              </a:extLst>
            </p:cNvPr>
            <p:cNvSpPr txBox="1"/>
            <p:nvPr/>
          </p:nvSpPr>
          <p:spPr>
            <a:xfrm>
              <a:off x="2876549" y="2025331"/>
              <a:ext cx="1122043"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Engineering Services</a:t>
              </a:r>
            </a:p>
          </p:txBody>
        </p:sp>
        <p:sp>
          <p:nvSpPr>
            <p:cNvPr id="28" name="TextBox 27">
              <a:extLst>
                <a:ext uri="{FF2B5EF4-FFF2-40B4-BE49-F238E27FC236}">
                  <a16:creationId xmlns:a16="http://schemas.microsoft.com/office/drawing/2014/main" id="{F82D09EC-0927-6534-D062-413369767EE7}"/>
                </a:ext>
              </a:extLst>
            </p:cNvPr>
            <p:cNvSpPr txBox="1"/>
            <p:nvPr/>
          </p:nvSpPr>
          <p:spPr>
            <a:xfrm>
              <a:off x="4143374" y="2025331"/>
              <a:ext cx="1137285" cy="24622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Internet of Things (IoT) </a:t>
              </a:r>
            </a:p>
          </p:txBody>
        </p:sp>
      </p:grpSp>
      <p:grpSp>
        <p:nvGrpSpPr>
          <p:cNvPr id="49" name="Group 48">
            <a:extLst>
              <a:ext uri="{FF2B5EF4-FFF2-40B4-BE49-F238E27FC236}">
                <a16:creationId xmlns:a16="http://schemas.microsoft.com/office/drawing/2014/main" id="{4FBCA764-B15C-02FE-4C18-788D785C600A}"/>
              </a:ext>
            </a:extLst>
          </p:cNvPr>
          <p:cNvGrpSpPr/>
          <p:nvPr/>
        </p:nvGrpSpPr>
        <p:grpSpPr>
          <a:xfrm>
            <a:off x="315610" y="2326640"/>
            <a:ext cx="5052059" cy="861774"/>
            <a:chOff x="228600" y="2573060"/>
            <a:chExt cx="5052059" cy="861774"/>
          </a:xfrm>
        </p:grpSpPr>
        <p:sp>
          <p:nvSpPr>
            <p:cNvPr id="30" name="TextBox 29">
              <a:extLst>
                <a:ext uri="{FF2B5EF4-FFF2-40B4-BE49-F238E27FC236}">
                  <a16:creationId xmlns:a16="http://schemas.microsoft.com/office/drawing/2014/main" id="{1E9857A3-1935-44FB-2654-49FC7B719266}"/>
                </a:ext>
              </a:extLst>
            </p:cNvPr>
            <p:cNvSpPr txBox="1"/>
            <p:nvPr/>
          </p:nvSpPr>
          <p:spPr>
            <a:xfrm>
              <a:off x="228600" y="2579441"/>
              <a:ext cx="906780" cy="153888"/>
            </a:xfrm>
            <a:prstGeom prst="rect">
              <a:avLst/>
            </a:prstGeom>
            <a:noFill/>
          </p:spPr>
          <p:txBody>
            <a:bodyPr wrap="square" lIns="0" tIns="0" rIns="0" bIns="0" rtlCol="0">
              <a:spAutoFit/>
            </a:bodyPr>
            <a:lstStyle/>
            <a:p>
              <a:r>
                <a:rPr lang="en-US" sz="1000" b="1">
                  <a:solidFill>
                    <a:schemeClr val="accent1"/>
                  </a:solidFill>
                  <a:latin typeface="Arial" panose="020B0604020202020204" pitchFamily="34" charset="0"/>
                  <a:cs typeface="Arial" panose="020B0604020202020204" pitchFamily="34" charset="0"/>
                </a:rPr>
                <a:t>Accelerate</a:t>
              </a:r>
            </a:p>
          </p:txBody>
        </p:sp>
        <p:sp>
          <p:nvSpPr>
            <p:cNvPr id="31" name="TextBox 30">
              <a:extLst>
                <a:ext uri="{FF2B5EF4-FFF2-40B4-BE49-F238E27FC236}">
                  <a16:creationId xmlns:a16="http://schemas.microsoft.com/office/drawing/2014/main" id="{918A67ED-01E5-AB6D-E765-04E00FF883D7}"/>
                </a:ext>
              </a:extLst>
            </p:cNvPr>
            <p:cNvSpPr txBox="1"/>
            <p:nvPr/>
          </p:nvSpPr>
          <p:spPr>
            <a:xfrm>
              <a:off x="1609725" y="2573060"/>
              <a:ext cx="1081088" cy="861774"/>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Enterprise Agile DevOps</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Cloud – Infosys Cobalt</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Microsoft Cloud Business</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Salesforce</a:t>
              </a:r>
            </a:p>
          </p:txBody>
        </p:sp>
        <p:sp>
          <p:nvSpPr>
            <p:cNvPr id="32" name="TextBox 31">
              <a:extLst>
                <a:ext uri="{FF2B5EF4-FFF2-40B4-BE49-F238E27FC236}">
                  <a16:creationId xmlns:a16="http://schemas.microsoft.com/office/drawing/2014/main" id="{3D456BD2-8584-216C-EEC9-8B33644F6925}"/>
                </a:ext>
              </a:extLst>
            </p:cNvPr>
            <p:cNvSpPr txBox="1"/>
            <p:nvPr/>
          </p:nvSpPr>
          <p:spPr>
            <a:xfrm>
              <a:off x="2876549" y="2573060"/>
              <a:ext cx="1122045" cy="861774"/>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API Economy &amp; Microservices </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Digital Process Automation</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Oracle</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Service Experience Transformation</a:t>
              </a:r>
            </a:p>
          </p:txBody>
        </p:sp>
        <p:sp>
          <p:nvSpPr>
            <p:cNvPr id="33" name="TextBox 32">
              <a:extLst>
                <a:ext uri="{FF2B5EF4-FFF2-40B4-BE49-F238E27FC236}">
                  <a16:creationId xmlns:a16="http://schemas.microsoft.com/office/drawing/2014/main" id="{BDE8E4D2-D457-6BF2-3301-9EA8FEF7ED1E}"/>
                </a:ext>
              </a:extLst>
            </p:cNvPr>
            <p:cNvSpPr txBox="1"/>
            <p:nvPr/>
          </p:nvSpPr>
          <p:spPr>
            <a:xfrm>
              <a:off x="4143374" y="2573060"/>
              <a:ext cx="1137285" cy="738664"/>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Application Modernization</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Digital Supply Chain</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SAP</a:t>
              </a:r>
            </a:p>
            <a:p>
              <a:pPr marL="114300" indent="-114300">
                <a:buFont typeface="Arial" panose="020B0604020202020204" pitchFamily="34" charset="0"/>
                <a:buChar char="•"/>
              </a:pPr>
              <a:r>
                <a:rPr lang="en-US" sz="800">
                  <a:latin typeface="Arial" panose="020B0604020202020204" pitchFamily="34" charset="0"/>
                  <a:cs typeface="Arial" panose="020B0604020202020204" pitchFamily="34" charset="0"/>
                </a:rPr>
                <a:t>Workplace Transformation</a:t>
              </a:r>
            </a:p>
          </p:txBody>
        </p:sp>
      </p:grpSp>
      <p:grpSp>
        <p:nvGrpSpPr>
          <p:cNvPr id="48" name="Group 47">
            <a:extLst>
              <a:ext uri="{FF2B5EF4-FFF2-40B4-BE49-F238E27FC236}">
                <a16:creationId xmlns:a16="http://schemas.microsoft.com/office/drawing/2014/main" id="{87A45499-C9D6-9698-1CAC-9C3E0B4DF2DB}"/>
              </a:ext>
            </a:extLst>
          </p:cNvPr>
          <p:cNvGrpSpPr/>
          <p:nvPr/>
        </p:nvGrpSpPr>
        <p:grpSpPr>
          <a:xfrm>
            <a:off x="315610" y="3406563"/>
            <a:ext cx="5052059" cy="153888"/>
            <a:chOff x="228600" y="3614758"/>
            <a:chExt cx="5052059" cy="153888"/>
          </a:xfrm>
        </p:grpSpPr>
        <p:sp>
          <p:nvSpPr>
            <p:cNvPr id="38" name="TextBox 37">
              <a:extLst>
                <a:ext uri="{FF2B5EF4-FFF2-40B4-BE49-F238E27FC236}">
                  <a16:creationId xmlns:a16="http://schemas.microsoft.com/office/drawing/2014/main" id="{D2C67F09-DCF2-CF70-FEFD-906D216ECAF5}"/>
                </a:ext>
              </a:extLst>
            </p:cNvPr>
            <p:cNvSpPr txBox="1"/>
            <p:nvPr/>
          </p:nvSpPr>
          <p:spPr>
            <a:xfrm>
              <a:off x="228600" y="3614758"/>
              <a:ext cx="906780" cy="153888"/>
            </a:xfrm>
            <a:prstGeom prst="rect">
              <a:avLst/>
            </a:prstGeom>
            <a:noFill/>
          </p:spPr>
          <p:txBody>
            <a:bodyPr wrap="square" lIns="0" tIns="0" rIns="0" bIns="0" rtlCol="0">
              <a:spAutoFit/>
            </a:bodyPr>
            <a:lstStyle/>
            <a:p>
              <a:r>
                <a:rPr lang="en-US" sz="1000" b="1">
                  <a:solidFill>
                    <a:schemeClr val="bg1">
                      <a:lumMod val="50000"/>
                    </a:schemeClr>
                  </a:solidFill>
                  <a:latin typeface="Arial" panose="020B0604020202020204" pitchFamily="34" charset="0"/>
                  <a:cs typeface="Arial" panose="020B0604020202020204" pitchFamily="34" charset="0"/>
                </a:rPr>
                <a:t>Assure</a:t>
              </a:r>
            </a:p>
          </p:txBody>
        </p:sp>
        <p:sp>
          <p:nvSpPr>
            <p:cNvPr id="39" name="TextBox 38">
              <a:extLst>
                <a:ext uri="{FF2B5EF4-FFF2-40B4-BE49-F238E27FC236}">
                  <a16:creationId xmlns:a16="http://schemas.microsoft.com/office/drawing/2014/main" id="{861B4CD4-DA78-9EAA-9B64-110AE1962262}"/>
                </a:ext>
              </a:extLst>
            </p:cNvPr>
            <p:cNvSpPr txBox="1"/>
            <p:nvPr/>
          </p:nvSpPr>
          <p:spPr>
            <a:xfrm>
              <a:off x="1609725" y="3630147"/>
              <a:ext cx="1122044"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Cyber Security</a:t>
              </a:r>
            </a:p>
          </p:txBody>
        </p:sp>
        <p:sp>
          <p:nvSpPr>
            <p:cNvPr id="40" name="TextBox 39">
              <a:extLst>
                <a:ext uri="{FF2B5EF4-FFF2-40B4-BE49-F238E27FC236}">
                  <a16:creationId xmlns:a16="http://schemas.microsoft.com/office/drawing/2014/main" id="{EB37C4AF-69F0-4643-E322-960942AACE11}"/>
                </a:ext>
              </a:extLst>
            </p:cNvPr>
            <p:cNvSpPr txBox="1"/>
            <p:nvPr/>
          </p:nvSpPr>
          <p:spPr>
            <a:xfrm>
              <a:off x="2876549" y="3630147"/>
              <a:ext cx="1122043"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Testing</a:t>
              </a:r>
            </a:p>
          </p:txBody>
        </p:sp>
        <p:sp>
          <p:nvSpPr>
            <p:cNvPr id="41" name="TextBox 40">
              <a:extLst>
                <a:ext uri="{FF2B5EF4-FFF2-40B4-BE49-F238E27FC236}">
                  <a16:creationId xmlns:a16="http://schemas.microsoft.com/office/drawing/2014/main" id="{24642B28-151F-1FDC-71EB-0A2EA4288A4A}"/>
                </a:ext>
              </a:extLst>
            </p:cNvPr>
            <p:cNvSpPr txBox="1"/>
            <p:nvPr/>
          </p:nvSpPr>
          <p:spPr>
            <a:xfrm>
              <a:off x="4143374" y="3630147"/>
              <a:ext cx="1137285" cy="123111"/>
            </a:xfrm>
            <a:prstGeom prst="rect">
              <a:avLst/>
            </a:prstGeom>
            <a:noFill/>
          </p:spPr>
          <p:txBody>
            <a:bodyPr wrap="square" lIns="0" tIns="0" rIns="0" bIns="0" rtlCol="0">
              <a:spAutoFit/>
            </a:bodyPr>
            <a:lstStyle/>
            <a:p>
              <a:pPr marL="114300" indent="-114300">
                <a:buFont typeface="Arial" panose="020B0604020202020204" pitchFamily="34" charset="0"/>
                <a:buChar char="•"/>
              </a:pPr>
              <a:endParaRPr lang="en-US" sz="800">
                <a:solidFill>
                  <a:schemeClr val="bg1">
                    <a:lumMod val="50000"/>
                  </a:schemeClr>
                </a:solidFill>
                <a:latin typeface="Arial" panose="020B0604020202020204" pitchFamily="34" charset="0"/>
                <a:cs typeface="Arial" panose="020B0604020202020204" pitchFamily="34" charset="0"/>
              </a:endParaRPr>
            </a:p>
          </p:txBody>
        </p:sp>
      </p:grpSp>
      <p:grpSp>
        <p:nvGrpSpPr>
          <p:cNvPr id="47" name="Group 46">
            <a:extLst>
              <a:ext uri="{FF2B5EF4-FFF2-40B4-BE49-F238E27FC236}">
                <a16:creationId xmlns:a16="http://schemas.microsoft.com/office/drawing/2014/main" id="{60524EDC-E782-4690-E311-3DF90E4A8DE6}"/>
              </a:ext>
            </a:extLst>
          </p:cNvPr>
          <p:cNvGrpSpPr/>
          <p:nvPr/>
        </p:nvGrpSpPr>
        <p:grpSpPr>
          <a:xfrm>
            <a:off x="315610" y="3801660"/>
            <a:ext cx="5052059" cy="630942"/>
            <a:chOff x="228600" y="4124149"/>
            <a:chExt cx="5052059" cy="630942"/>
          </a:xfrm>
        </p:grpSpPr>
        <p:sp>
          <p:nvSpPr>
            <p:cNvPr id="43" name="TextBox 42">
              <a:extLst>
                <a:ext uri="{FF2B5EF4-FFF2-40B4-BE49-F238E27FC236}">
                  <a16:creationId xmlns:a16="http://schemas.microsoft.com/office/drawing/2014/main" id="{572C6F88-104D-3B33-3C2C-82AEFD40AC7E}"/>
                </a:ext>
              </a:extLst>
            </p:cNvPr>
            <p:cNvSpPr txBox="1"/>
            <p:nvPr/>
          </p:nvSpPr>
          <p:spPr>
            <a:xfrm>
              <a:off x="228600" y="4124149"/>
              <a:ext cx="952500" cy="615553"/>
            </a:xfrm>
            <a:prstGeom prst="rect">
              <a:avLst/>
            </a:prstGeom>
            <a:noFill/>
          </p:spPr>
          <p:txBody>
            <a:bodyPr wrap="square" lIns="0" tIns="0" rIns="0" bIns="0" rtlCol="0">
              <a:spAutoFit/>
            </a:bodyPr>
            <a:lstStyle/>
            <a:p>
              <a:r>
                <a:rPr lang="en-US" sz="1000" b="1">
                  <a:solidFill>
                    <a:schemeClr val="bg1">
                      <a:lumMod val="50000"/>
                    </a:schemeClr>
                  </a:solidFill>
                  <a:latin typeface="Arial" panose="020B0604020202020204" pitchFamily="34" charset="0"/>
                  <a:cs typeface="Arial" panose="020B0604020202020204" pitchFamily="34" charset="0"/>
                </a:rPr>
                <a:t>Application Development and Maintenance</a:t>
              </a:r>
            </a:p>
          </p:txBody>
        </p:sp>
        <p:sp>
          <p:nvSpPr>
            <p:cNvPr id="44" name="TextBox 43">
              <a:extLst>
                <a:ext uri="{FF2B5EF4-FFF2-40B4-BE49-F238E27FC236}">
                  <a16:creationId xmlns:a16="http://schemas.microsoft.com/office/drawing/2014/main" id="{FEDC4C7D-9555-1949-C2B2-7F966CF62534}"/>
                </a:ext>
              </a:extLst>
            </p:cNvPr>
            <p:cNvSpPr txBox="1"/>
            <p:nvPr/>
          </p:nvSpPr>
          <p:spPr>
            <a:xfrm>
              <a:off x="1609725" y="4139538"/>
              <a:ext cx="1122044" cy="615553"/>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Application Development</a:t>
              </a:r>
            </a:p>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Application Maintenance and Support</a:t>
              </a:r>
            </a:p>
          </p:txBody>
        </p:sp>
        <p:sp>
          <p:nvSpPr>
            <p:cNvPr id="45" name="TextBox 44">
              <a:extLst>
                <a:ext uri="{FF2B5EF4-FFF2-40B4-BE49-F238E27FC236}">
                  <a16:creationId xmlns:a16="http://schemas.microsoft.com/office/drawing/2014/main" id="{778A2088-9AD5-2369-D39A-5C4548DECF44}"/>
                </a:ext>
              </a:extLst>
            </p:cNvPr>
            <p:cNvSpPr txBox="1"/>
            <p:nvPr/>
          </p:nvSpPr>
          <p:spPr>
            <a:xfrm>
              <a:off x="2876549" y="4139538"/>
              <a:ext cx="1122043" cy="12311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Domain Consulting</a:t>
              </a:r>
            </a:p>
          </p:txBody>
        </p:sp>
        <p:sp>
          <p:nvSpPr>
            <p:cNvPr id="46" name="TextBox 45">
              <a:extLst>
                <a:ext uri="{FF2B5EF4-FFF2-40B4-BE49-F238E27FC236}">
                  <a16:creationId xmlns:a16="http://schemas.microsoft.com/office/drawing/2014/main" id="{BF9F0C68-A522-F920-E098-B0F7A3A8EE56}"/>
                </a:ext>
              </a:extLst>
            </p:cNvPr>
            <p:cNvSpPr txBox="1"/>
            <p:nvPr/>
          </p:nvSpPr>
          <p:spPr>
            <a:xfrm>
              <a:off x="4143374" y="4139538"/>
              <a:ext cx="1137285" cy="246221"/>
            </a:xfrm>
            <a:prstGeom prst="rect">
              <a:avLst/>
            </a:prstGeom>
            <a:noFill/>
          </p:spPr>
          <p:txBody>
            <a:bodyPr wrap="square" lIns="0" tIns="0" rIns="0" bIns="0" rtlCol="0">
              <a:spAutoFit/>
            </a:bodyPr>
            <a:lstStyle/>
            <a:p>
              <a:pPr marL="114300" indent="-114300">
                <a:buFont typeface="Arial" panose="020B0604020202020204" pitchFamily="34" charset="0"/>
                <a:buChar char="•"/>
              </a:pPr>
              <a:r>
                <a:rPr lang="en-US" sz="800">
                  <a:solidFill>
                    <a:schemeClr val="bg1">
                      <a:lumMod val="50000"/>
                    </a:schemeClr>
                  </a:solidFill>
                  <a:latin typeface="Arial" panose="020B0604020202020204" pitchFamily="34" charset="0"/>
                  <a:cs typeface="Arial" panose="020B0604020202020204" pitchFamily="34" charset="0"/>
                </a:rPr>
                <a:t>Technology Consulting</a:t>
              </a:r>
            </a:p>
          </p:txBody>
        </p:sp>
      </p:grpSp>
      <p:pic>
        <p:nvPicPr>
          <p:cNvPr id="53" name="Picture 52" descr="Low angle view of tall buildings&#10;&#10;Description automatically generated with medium confidence">
            <a:extLst>
              <a:ext uri="{FF2B5EF4-FFF2-40B4-BE49-F238E27FC236}">
                <a16:creationId xmlns:a16="http://schemas.microsoft.com/office/drawing/2014/main" id="{A0ECCCCA-F177-EA64-39CF-C3101B73505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5480" r="13932" b="2212"/>
          <a:stretch/>
        </p:blipFill>
        <p:spPr>
          <a:xfrm>
            <a:off x="5666382" y="1"/>
            <a:ext cx="3477618" cy="4636621"/>
          </a:xfrm>
          <a:custGeom>
            <a:avLst/>
            <a:gdLst>
              <a:gd name="connsiteX0" fmla="*/ 0 w 3477618"/>
              <a:gd name="connsiteY0" fmla="*/ 0 h 4636621"/>
              <a:gd name="connsiteX1" fmla="*/ 3477618 w 3477618"/>
              <a:gd name="connsiteY1" fmla="*/ 0 h 4636621"/>
              <a:gd name="connsiteX2" fmla="*/ 3477618 w 3477618"/>
              <a:gd name="connsiteY2" fmla="*/ 4636621 h 4636621"/>
              <a:gd name="connsiteX3" fmla="*/ 579615 w 3477618"/>
              <a:gd name="connsiteY3" fmla="*/ 4636621 h 4636621"/>
              <a:gd name="connsiteX4" fmla="*/ 0 w 3477618"/>
              <a:gd name="connsiteY4" fmla="*/ 4057006 h 4636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618" h="4636621">
                <a:moveTo>
                  <a:pt x="0" y="0"/>
                </a:moveTo>
                <a:lnTo>
                  <a:pt x="3477618" y="0"/>
                </a:lnTo>
                <a:lnTo>
                  <a:pt x="3477618" y="4636621"/>
                </a:lnTo>
                <a:lnTo>
                  <a:pt x="579615" y="4636621"/>
                </a:lnTo>
                <a:cubicBezTo>
                  <a:pt x="259502" y="4636621"/>
                  <a:pt x="0" y="4377119"/>
                  <a:pt x="0" y="4057006"/>
                </a:cubicBezTo>
                <a:close/>
              </a:path>
            </a:pathLst>
          </a:custGeom>
        </p:spPr>
      </p:pic>
      <p:sp>
        <p:nvSpPr>
          <p:cNvPr id="55" name="Title 1">
            <a:extLst>
              <a:ext uri="{FF2B5EF4-FFF2-40B4-BE49-F238E27FC236}">
                <a16:creationId xmlns:a16="http://schemas.microsoft.com/office/drawing/2014/main" id="{9D0EC94E-06F2-2706-8894-5960F16CAB5A}"/>
              </a:ext>
            </a:extLst>
          </p:cNvPr>
          <p:cNvSpPr txBox="1">
            <a:spLocks/>
          </p:cNvSpPr>
          <p:nvPr/>
        </p:nvSpPr>
        <p:spPr>
          <a:xfrm>
            <a:off x="210829" y="371476"/>
            <a:ext cx="8722343" cy="34769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250" b="1" kern="1200">
                <a:solidFill>
                  <a:schemeClr val="accent1"/>
                </a:solidFill>
                <a:latin typeface="FUTURA MEDIUM" panose="020B0602020204020303" pitchFamily="34" charset="-79"/>
                <a:ea typeface="+mj-ea"/>
                <a:cs typeface="FUTURA MEDIUM" panose="020B0602020204020303" pitchFamily="34" charset="-79"/>
              </a:defRPr>
            </a:lvl1pPr>
          </a:lstStyle>
          <a:p>
            <a:r>
              <a:rPr lang="en-US" sz="2800">
                <a:latin typeface="Arial" panose="020B0604020202020204" pitchFamily="34" charset="0"/>
                <a:cs typeface="Arial" panose="020B0604020202020204" pitchFamily="34" charset="0"/>
              </a:rPr>
              <a:t>Infosys services</a:t>
            </a:r>
          </a:p>
        </p:txBody>
      </p:sp>
      <p:sp>
        <p:nvSpPr>
          <p:cNvPr id="62" name="Oval 61">
            <a:extLst>
              <a:ext uri="{FF2B5EF4-FFF2-40B4-BE49-F238E27FC236}">
                <a16:creationId xmlns:a16="http://schemas.microsoft.com/office/drawing/2014/main" id="{2C0B87A2-F7D0-7338-8E20-E99C62173A3A}"/>
              </a:ext>
            </a:extLst>
          </p:cNvPr>
          <p:cNvSpPr/>
          <p:nvPr/>
        </p:nvSpPr>
        <p:spPr>
          <a:xfrm>
            <a:off x="1303875" y="1491965"/>
            <a:ext cx="154298" cy="154298"/>
          </a:xfrm>
          <a:prstGeom prst="ellipse">
            <a:avLst/>
          </a:prstGeom>
          <a:solidFill>
            <a:schemeClr val="bg1">
              <a:lumMod val="65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3" name="Oval 62">
            <a:extLst>
              <a:ext uri="{FF2B5EF4-FFF2-40B4-BE49-F238E27FC236}">
                <a16:creationId xmlns:a16="http://schemas.microsoft.com/office/drawing/2014/main" id="{10816CCE-ABC1-BD8B-9E26-30B84889FBCF}"/>
              </a:ext>
            </a:extLst>
          </p:cNvPr>
          <p:cNvSpPr/>
          <p:nvPr/>
        </p:nvSpPr>
        <p:spPr>
          <a:xfrm>
            <a:off x="1304216" y="1883399"/>
            <a:ext cx="154298" cy="154298"/>
          </a:xfrm>
          <a:prstGeom prst="ellipse">
            <a:avLst/>
          </a:prstGeom>
          <a:solidFill>
            <a:schemeClr val="bg1">
              <a:lumMod val="65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4" name="Oval 63">
            <a:extLst>
              <a:ext uri="{FF2B5EF4-FFF2-40B4-BE49-F238E27FC236}">
                <a16:creationId xmlns:a16="http://schemas.microsoft.com/office/drawing/2014/main" id="{A07D8FB3-5C9E-902B-4AF0-834C89D22937}"/>
              </a:ext>
            </a:extLst>
          </p:cNvPr>
          <p:cNvSpPr/>
          <p:nvPr/>
        </p:nvSpPr>
        <p:spPr>
          <a:xfrm>
            <a:off x="1304898" y="3402600"/>
            <a:ext cx="154298" cy="154298"/>
          </a:xfrm>
          <a:prstGeom prst="ellipse">
            <a:avLst/>
          </a:prstGeom>
          <a:solidFill>
            <a:schemeClr val="bg1">
              <a:lumMod val="65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5" name="Oval 64">
            <a:extLst>
              <a:ext uri="{FF2B5EF4-FFF2-40B4-BE49-F238E27FC236}">
                <a16:creationId xmlns:a16="http://schemas.microsoft.com/office/drawing/2014/main" id="{8A62BD14-732D-0983-161B-CE58FFA5C59E}"/>
              </a:ext>
            </a:extLst>
          </p:cNvPr>
          <p:cNvSpPr/>
          <p:nvPr/>
        </p:nvSpPr>
        <p:spPr>
          <a:xfrm>
            <a:off x="1309493" y="3801880"/>
            <a:ext cx="154298" cy="154298"/>
          </a:xfrm>
          <a:prstGeom prst="ellipse">
            <a:avLst/>
          </a:prstGeom>
          <a:solidFill>
            <a:schemeClr val="bg1">
              <a:lumMod val="65000"/>
            </a:schemeClr>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66" name="Oval 65">
            <a:extLst>
              <a:ext uri="{FF2B5EF4-FFF2-40B4-BE49-F238E27FC236}">
                <a16:creationId xmlns:a16="http://schemas.microsoft.com/office/drawing/2014/main" id="{5A1FE1E6-8129-FD3E-F37D-B8A28736EE41}"/>
              </a:ext>
            </a:extLst>
          </p:cNvPr>
          <p:cNvSpPr/>
          <p:nvPr/>
        </p:nvSpPr>
        <p:spPr>
          <a:xfrm>
            <a:off x="1304898" y="2337616"/>
            <a:ext cx="154298" cy="154298"/>
          </a:xfrm>
          <a:prstGeom prst="ellipse">
            <a:avLst/>
          </a:prstGeom>
          <a:solidFill>
            <a:srgbClr val="FF7014"/>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Tree>
    <p:extLst>
      <p:ext uri="{BB962C8B-B14F-4D97-AF65-F5344CB8AC3E}">
        <p14:creationId xmlns:p14="http://schemas.microsoft.com/office/powerpoint/2010/main" val="161569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1ay_FxJrksxGQ6Sg6X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g5s8NSc2Ay8zVeyzdVJ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ODnUSHLoWQSBCZTeEE5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8aaWLT4s_nZypobidNm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9YTBX54EZ_3dXn4asKB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v-Theme_Test1">
  <a:themeElements>
    <a:clrScheme name="REVATURe">
      <a:dk1>
        <a:srgbClr val="000000"/>
      </a:dk1>
      <a:lt1>
        <a:srgbClr val="FFFFFF"/>
      </a:lt1>
      <a:dk2>
        <a:srgbClr val="00183C"/>
      </a:dk2>
      <a:lt2>
        <a:srgbClr val="EEECE1"/>
      </a:lt2>
      <a:accent1>
        <a:srgbClr val="FF7014"/>
      </a:accent1>
      <a:accent2>
        <a:srgbClr val="0741CB"/>
      </a:accent2>
      <a:accent3>
        <a:srgbClr val="099C45"/>
      </a:accent3>
      <a:accent4>
        <a:srgbClr val="FFCF00"/>
      </a:accent4>
      <a:accent5>
        <a:srgbClr val="5EBCE1"/>
      </a:accent5>
      <a:accent6>
        <a:srgbClr val="DCFE5F"/>
      </a:accent6>
      <a:hlink>
        <a:srgbClr val="0000FF"/>
      </a:hlink>
      <a:folHlink>
        <a:srgbClr val="0000FF"/>
      </a:folHlink>
    </a:clrScheme>
    <a:fontScheme name="New Template">
      <a:majorFont>
        <a:latin typeface="Degular"/>
        <a:ea typeface=""/>
        <a:cs typeface=""/>
      </a:majorFont>
      <a:minorFont>
        <a:latin typeface="Aperc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Theme_Test1" id="{AFA164CF-139C-2A40-9387-D8BAE6B26E1F}" vid="{3C1FED7A-C574-874E-8949-06397D14D754}"/>
    </a:ext>
  </a:ext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333333"/>
      </a:dk2>
      <a:lt2>
        <a:srgbClr val="EEECE1"/>
      </a:lt2>
      <a:accent1>
        <a:srgbClr val="F26926"/>
      </a:accent1>
      <a:accent2>
        <a:srgbClr val="484C56"/>
      </a:accent2>
      <a:accent3>
        <a:srgbClr val="73A5C2"/>
      </a:accent3>
      <a:accent4>
        <a:srgbClr val="FDB515"/>
      </a:accent4>
      <a:accent5>
        <a:srgbClr val="4B4B4B"/>
      </a:accent5>
      <a:accent6>
        <a:srgbClr val="B9B9BA"/>
      </a:accent6>
      <a:hlink>
        <a:srgbClr val="0000FF"/>
      </a:hlink>
      <a:folHlink>
        <a:srgbClr val="800080"/>
      </a:folHlink>
    </a:clrScheme>
    <a:fontScheme name="Custom 2">
      <a:majorFont>
        <a:latin typeface="Futura PT Heavy"/>
        <a:ea typeface=""/>
        <a:cs typeface=""/>
      </a:majorFont>
      <a:minorFont>
        <a:latin typeface="Futura P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262e6eb-0b68-496a-8cd0-7b59702b5d91">
      <Terms xmlns="http://schemas.microsoft.com/office/infopath/2007/PartnerControls"/>
    </lcf76f155ced4ddcb4097134ff3c332f>
    <SharedWithUsers xmlns="40f1431a-eb64-42a7-abb8-cf38e9c93fea">
      <UserInfo>
        <DisplayName/>
        <AccountId xsi:nil="true"/>
        <AccountType/>
      </UserInfo>
    </SharedWithUsers>
    <MediaLengthInSeconds xmlns="b262e6eb-0b68-496a-8cd0-7b59702b5d91" xsi:nil="true"/>
    <Label xmlns="b262e6eb-0b68-496a-8cd0-7b59702b5d9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0543192DDD384FA3647B14578C39B9" ma:contentTypeVersion="14" ma:contentTypeDescription="Create a new document." ma:contentTypeScope="" ma:versionID="4dd4f643396f62b26e2a7a572ff6c87e">
  <xsd:schema xmlns:xsd="http://www.w3.org/2001/XMLSchema" xmlns:xs="http://www.w3.org/2001/XMLSchema" xmlns:p="http://schemas.microsoft.com/office/2006/metadata/properties" xmlns:ns2="b262e6eb-0b68-496a-8cd0-7b59702b5d91" xmlns:ns3="40f1431a-eb64-42a7-abb8-cf38e9c93fea" targetNamespace="http://schemas.microsoft.com/office/2006/metadata/properties" ma:root="true" ma:fieldsID="7efe0233af28acdde2677bc771975044" ns2:_="" ns3:_="">
    <xsd:import namespace="b262e6eb-0b68-496a-8cd0-7b59702b5d91"/>
    <xsd:import namespace="40f1431a-eb64-42a7-abb8-cf38e9c93fe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abe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62e6eb-0b68-496a-8cd0-7b59702b5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c4358da-3780-45bf-91e2-d742a5320e2b" ma:termSetId="09814cd3-568e-fe90-9814-8d621ff8fb84" ma:anchorId="fba54fb3-c3e1-fe81-a776-ca4b69148c4d" ma:open="true" ma:isKeyword="false">
      <xsd:complexType>
        <xsd:sequence>
          <xsd:element ref="pc:Terms" minOccurs="0" maxOccurs="1"/>
        </xsd:sequence>
      </xsd:complex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abel" ma:index="19" nillable="true" ma:displayName="Label" ma:description="A generic label to help navigate the directory" ma:format="Dropdown" ma:internalName="Label">
      <xsd:simpleType>
        <xsd:restriction base="dms:Choice">
          <xsd:enumeration value="Published for Other Departments"/>
          <xsd:enumeration value="Internal Revature"/>
          <xsd:enumeration value="Internal Customer Success Team only"/>
          <xsd:enumeration value="Choice 4"/>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f1431a-eb64-42a7-abb8-cf38e9c93fe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AC48D-6C64-4351-942A-6A14D69C4156}">
  <ds:schemaRefs>
    <ds:schemaRef ds:uri="http://schemas.microsoft.com/sharepoint/v3/contenttype/forms"/>
  </ds:schemaRefs>
</ds:datastoreItem>
</file>

<file path=customXml/itemProps2.xml><?xml version="1.0" encoding="utf-8"?>
<ds:datastoreItem xmlns:ds="http://schemas.openxmlformats.org/officeDocument/2006/customXml" ds:itemID="{D6072E7E-F83F-47DA-A5E6-BDB382C08F2F}">
  <ds:schemaRefs>
    <ds:schemaRef ds:uri="40f1431a-eb64-42a7-abb8-cf38e9c93fea"/>
    <ds:schemaRef ds:uri="b262e6eb-0b68-496a-8cd0-7b59702b5d9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6CA72AA-B9DD-458E-89D7-67E6908AB88C}">
  <ds:schemaRefs>
    <ds:schemaRef ds:uri="40f1431a-eb64-42a7-abb8-cf38e9c93fea"/>
    <ds:schemaRef ds:uri="b262e6eb-0b68-496a-8cd0-7b59702b5d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16:9)</PresentationFormat>
  <Slides>12</Slides>
  <Notes>0</Notes>
  <HiddenSlides>0</HiddenSlides>
  <ScaleCrop>false</ScaleCrop>
  <HeadingPairs>
    <vt:vector size="4" baseType="variant">
      <vt:variant>
        <vt:lpstr>Theme</vt:lpstr>
      </vt:variant>
      <vt:variant>
        <vt:i4>3</vt:i4>
      </vt:variant>
      <vt:variant>
        <vt:lpstr>Slide Titles</vt:lpstr>
      </vt:variant>
      <vt:variant>
        <vt:i4>12</vt:i4>
      </vt:variant>
    </vt:vector>
  </HeadingPairs>
  <TitlesOfParts>
    <vt:vector size="15" baseType="lpstr">
      <vt:lpstr>Rev-Theme_Test1</vt:lpstr>
      <vt:lpstr>Office Theme</vt:lpstr>
      <vt:lpstr>1_Office Theme</vt:lpstr>
      <vt:lpstr>Revature  Meet &amp; Greet</vt:lpstr>
      <vt:lpstr>What are Meet &amp; Greets?</vt:lpstr>
      <vt:lpstr>Introducing Yourself</vt:lpstr>
      <vt:lpstr>Basic Do’s and Don’ts</vt:lpstr>
      <vt:lpstr>Sample Questions</vt:lpstr>
      <vt:lpstr>Global Company…</vt:lpstr>
      <vt:lpstr>Why Infosys</vt:lpstr>
      <vt:lpstr>PowerPoint Presentation</vt:lpstr>
      <vt:lpstr>PowerPoint Presentation</vt:lpstr>
      <vt:lpstr>Key Timelines (Training to Onboarding)</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hit McCullough</dc:creator>
  <cp:revision>1</cp:revision>
  <dcterms:created xsi:type="dcterms:W3CDTF">2015-02-17T21:17:56Z</dcterms:created>
  <dcterms:modified xsi:type="dcterms:W3CDTF">2025-10-07T14:5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0543192DDD384FA3647B14578C39B9</vt:lpwstr>
  </property>
  <property fmtid="{D5CDD505-2E9C-101B-9397-08002B2CF9AE}" pid="3" name="MediaServiceImageTags">
    <vt:lpwstr/>
  </property>
  <property fmtid="{D5CDD505-2E9C-101B-9397-08002B2CF9AE}" pid="4" name="Order">
    <vt:r8>362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